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9"/>
  </p:notesMasterIdLst>
  <p:sldIdLst>
    <p:sldId id="256" r:id="rId2"/>
    <p:sldId id="259" r:id="rId3"/>
    <p:sldId id="317" r:id="rId4"/>
    <p:sldId id="311" r:id="rId5"/>
    <p:sldId id="299" r:id="rId6"/>
    <p:sldId id="303" r:id="rId7"/>
    <p:sldId id="257" r:id="rId8"/>
    <p:sldId id="330" r:id="rId9"/>
    <p:sldId id="314" r:id="rId10"/>
    <p:sldId id="318" r:id="rId11"/>
    <p:sldId id="261" r:id="rId12"/>
    <p:sldId id="323" r:id="rId13"/>
    <p:sldId id="260" r:id="rId14"/>
    <p:sldId id="322" r:id="rId15"/>
    <p:sldId id="324" r:id="rId16"/>
    <p:sldId id="333" r:id="rId17"/>
    <p:sldId id="326" r:id="rId18"/>
    <p:sldId id="327" r:id="rId19"/>
    <p:sldId id="329" r:id="rId20"/>
    <p:sldId id="325" r:id="rId21"/>
    <p:sldId id="328" r:id="rId22"/>
    <p:sldId id="334" r:id="rId23"/>
    <p:sldId id="335" r:id="rId24"/>
    <p:sldId id="336" r:id="rId25"/>
    <p:sldId id="337" r:id="rId26"/>
    <p:sldId id="338" r:id="rId27"/>
    <p:sldId id="315" r:id="rId28"/>
    <p:sldId id="277" r:id="rId29"/>
    <p:sldId id="316" r:id="rId30"/>
    <p:sldId id="279" r:id="rId31"/>
    <p:sldId id="319" r:id="rId32"/>
    <p:sldId id="264" r:id="rId33"/>
    <p:sldId id="265" r:id="rId34"/>
    <p:sldId id="266" r:id="rId35"/>
    <p:sldId id="267" r:id="rId36"/>
    <p:sldId id="268" r:id="rId37"/>
    <p:sldId id="269" r:id="rId38"/>
    <p:sldId id="331" r:id="rId39"/>
    <p:sldId id="332" r:id="rId40"/>
    <p:sldId id="320" r:id="rId41"/>
    <p:sldId id="270" r:id="rId42"/>
    <p:sldId id="340" r:id="rId43"/>
    <p:sldId id="341" r:id="rId44"/>
    <p:sldId id="342" r:id="rId45"/>
    <p:sldId id="343" r:id="rId46"/>
    <p:sldId id="344" r:id="rId47"/>
    <p:sldId id="273" r:id="rId48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520" autoAdjust="0"/>
    <p:restoredTop sz="94660"/>
  </p:normalViewPr>
  <p:slideViewPr>
    <p:cSldViewPr snapToGrid="0" showGuides="1">
      <p:cViewPr>
        <p:scale>
          <a:sx n="70" d="100"/>
          <a:sy n="70" d="100"/>
        </p:scale>
        <p:origin x="621" y="37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6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159428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33794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63320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362049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26522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92125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953019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769374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583366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27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3586707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14046034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198758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787C3-0110-12A0-3835-E91246FD24AA}" type="slidenum">
              <a:rPr/>
              <a:t>28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29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9538234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839905908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2843300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A78C9F-44B4-002E-8BC2-B702173FBC9D}" type="slidenum">
              <a:rPr/>
              <a:t>30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72437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32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33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34</a:t>
            </a:fld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35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36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278716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37</a:t>
            </a:fld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3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183346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3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931129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4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7640867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41</a:t>
            </a:fld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4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7689029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237205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221158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040323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179041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ohame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jufa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735757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47</a:t>
            </a:fld>
            <a:endParaRPr lang="en-ID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95154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26787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3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57.png"/><Relationship Id="rId4" Type="http://schemas.openxmlformats.org/officeDocument/2006/relationships/image" Target="../media/image56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 dirty="0"/>
              <a:t>We are </a:t>
            </a:r>
            <a:r>
              <a:rPr lang="en-US" sz="6600" b="1" dirty="0" err="1"/>
              <a:t>mustrust</a:t>
            </a:r>
            <a:r>
              <a:rPr lang="en-US" sz="6600" b="1" dirty="0"/>
              <a:t>!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708465B8-CB5E-0D37-F372-7E80419BD47F}"/>
              </a:ext>
            </a:extLst>
          </p:cNvPr>
          <p:cNvGrpSpPr/>
          <p:nvPr/>
        </p:nvGrpSpPr>
        <p:grpSpPr>
          <a:xfrm>
            <a:off x="723085" y="2636466"/>
            <a:ext cx="10161930" cy="2240628"/>
            <a:chOff x="723085" y="2636466"/>
            <a:chExt cx="10161930" cy="2240628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23085" y="3042306"/>
              <a:ext cx="3600953" cy="1428949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 bwMode="auto">
            <a:xfrm>
              <a:off x="4217858" y="3295116"/>
              <a:ext cx="529312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>
                <a:defRPr/>
              </a:pPr>
              <a:r>
                <a:rPr lang="en-US" sz="5400" b="1" cap="none" spc="0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+</a:t>
              </a:r>
              <a:endParaRPr 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  <p:pic>
          <p:nvPicPr>
            <p:cNvPr id="8" name="Picture 2" descr="Rust Logo PNG Vector (SVG) Free Download"/>
            <p:cNvPicPr>
              <a:picLocks noChangeAspect="1" noChangeArrowheads="1"/>
            </p:cNvPicPr>
            <p:nvPr/>
          </p:nvPicPr>
          <p:blipFill>
            <a:blip r:embed="rId6"/>
            <a:stretch/>
          </p:blipFill>
          <p:spPr bwMode="auto">
            <a:xfrm>
              <a:off x="5103164" y="2636466"/>
              <a:ext cx="2233159" cy="2240628"/>
            </a:xfrm>
            <a:prstGeom prst="rect">
              <a:avLst/>
            </a:prstGeom>
            <a:noFill/>
          </p:spPr>
        </p:pic>
        <p:pic>
          <p:nvPicPr>
            <p:cNvPr id="9" name="Picture 4" descr="MMU letter logo design in illustration. Vector logo, calligraphy ..."/>
            <p:cNvPicPr>
              <a:picLocks noChangeAspect="1" noChangeArrowheads="1"/>
            </p:cNvPicPr>
            <p:nvPr/>
          </p:nvPicPr>
          <p:blipFill rotWithShape="1">
            <a:blip r:embed="rId7"/>
            <a:srcRect l="18603" t="20961" r="18241" b="20269"/>
            <a:stretch/>
          </p:blipFill>
          <p:spPr bwMode="auto">
            <a:xfrm>
              <a:off x="8651855" y="2698303"/>
              <a:ext cx="2233160" cy="2078061"/>
            </a:xfrm>
            <a:prstGeom prst="rect">
              <a:avLst/>
            </a:prstGeom>
            <a:noFill/>
          </p:spPr>
        </p:pic>
        <p:sp>
          <p:nvSpPr>
            <p:cNvPr id="10" name="文本框 9"/>
            <p:cNvSpPr txBox="1"/>
            <p:nvPr/>
          </p:nvSpPr>
          <p:spPr bwMode="auto">
            <a:xfrm>
              <a:off x="7692317" y="3263426"/>
              <a:ext cx="603543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5400" b="1" cap="none" spc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+</a:t>
              </a:r>
              <a:endParaRPr lang="zh-CN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FBF0D74F-FF71-A474-0D93-A38E99057F6F}"/>
              </a:ext>
            </a:extLst>
          </p:cNvPr>
          <p:cNvSpPr txBox="1"/>
          <p:nvPr/>
        </p:nvSpPr>
        <p:spPr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操作系统原理与设计</a:t>
            </a:r>
            <a:r>
              <a:rPr lang="en-US" altLang="zh-CN" dirty="0">
                <a:latin typeface="+mj-ea"/>
                <a:ea typeface="+mj-ea"/>
              </a:rPr>
              <a:t>(H) </a:t>
            </a:r>
            <a:r>
              <a:rPr lang="zh-CN" altLang="en-US" dirty="0">
                <a:latin typeface="+mj-ea"/>
                <a:ea typeface="+mj-ea"/>
              </a:rPr>
              <a:t>期末答辩 授课教师：邢凯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汇报人：阎昶澍、郭东昊、薄震宇、周翟恩和、王劲博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zh-CN" dirty="0">
                <a:latin typeface="+mj-ea"/>
                <a:ea typeface="+mj-ea"/>
              </a:rPr>
              <a:t>2024</a:t>
            </a:r>
            <a:r>
              <a:rPr lang="zh-CN" altLang="en-US" dirty="0">
                <a:latin typeface="+mj-ea"/>
                <a:ea typeface="+mj-ea"/>
              </a:rPr>
              <a:t>年</a:t>
            </a:r>
            <a:r>
              <a:rPr lang="en-US" altLang="zh-CN" dirty="0">
                <a:latin typeface="+mj-ea"/>
                <a:ea typeface="+mj-ea"/>
              </a:rPr>
              <a:t>7</a:t>
            </a:r>
            <a:r>
              <a:rPr lang="zh-CN" altLang="en-US" dirty="0">
                <a:latin typeface="+mj-ea"/>
                <a:ea typeface="+mj-ea"/>
              </a:rPr>
              <a:t>月</a:t>
            </a:r>
            <a:r>
              <a:rPr lang="en-US" altLang="zh-CN" dirty="0">
                <a:latin typeface="+mj-ea"/>
                <a:ea typeface="+mj-ea"/>
              </a:rPr>
              <a:t>6</a:t>
            </a:r>
            <a:r>
              <a:rPr lang="zh-CN" altLang="en-US" dirty="0">
                <a:latin typeface="+mj-ea"/>
                <a:ea typeface="+mj-ea"/>
              </a:rPr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42356" y="3013501"/>
            <a:ext cx="370728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RUST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改写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7423696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8DEB69-7644-7394-FCD0-54E48DFE3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929338" y="1997298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2" descr="freertos架构框图">
            <a:extLst>
              <a:ext uri="{FF2B5EF4-FFF2-40B4-BE49-F238E27FC236}">
                <a16:creationId xmlns:a16="http://schemas.microsoft.com/office/drawing/2014/main" id="{2A19AEE0-036C-61B4-45C6-89D8E544DD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8873" y="193183"/>
            <a:ext cx="4967496" cy="61754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8DEB69-7644-7394-FCD0-54E48DFE3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533400" y="2061692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4A42CE7C-6B60-6B71-E8BE-43A006399792}"/>
              </a:ext>
            </a:extLst>
          </p:cNvPr>
          <p:cNvSpPr txBox="1"/>
          <p:nvPr/>
        </p:nvSpPr>
        <p:spPr>
          <a:xfrm>
            <a:off x="3690783" y="1425783"/>
            <a:ext cx="4000007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zh-CN" altLang="en-US" sz="28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主目录下</a:t>
            </a:r>
            <a:endParaRPr lang="en-US" altLang="zh-CN" sz="2800" b="1" i="0" dirty="0">
              <a:solidFill>
                <a:srgbClr val="43436B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_asm_vector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定义异常向量和中断处理程序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list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链表数据结构的实现，用于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中的任务管理和内存管理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mu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我们自己添加的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c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语言版的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dirty="0">
                <a:solidFill>
                  <a:srgbClr val="43436B"/>
                </a:solidFill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600" dirty="0">
                <a:solidFill>
                  <a:srgbClr val="43436B"/>
                </a:solidFill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MU</a:t>
            </a:r>
            <a:r>
              <a:rPr lang="zh-CN" altLang="en-US" sz="1600" dirty="0">
                <a:solidFill>
                  <a:srgbClr val="43436B"/>
                </a:solidFill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实现，用于可行性验证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queue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队列数据结构的实现，用于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中的任务间通信和同步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startup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系统启动时的初始化和配置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tasks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任务管理的实现，用于创建、删除和管理任务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timers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定时器管理的实现，用于任务的延时和超时操作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wrapper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include 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所有头文件，结合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bindgen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进行链接。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E258324-80F1-DACC-ABF7-1682B6054C46}"/>
              </a:ext>
            </a:extLst>
          </p:cNvPr>
          <p:cNvSpPr txBox="1"/>
          <p:nvPr/>
        </p:nvSpPr>
        <p:spPr>
          <a:xfrm>
            <a:off x="7941928" y="1295400"/>
            <a:ext cx="3861559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altLang="zh-CN" sz="20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  <a:ea typeface="微软雅黑" panose="020B0503020204020204" pitchFamily="34" charset="-122"/>
              </a:rPr>
              <a:t>./portable/GCC/ARM_CA53_64_RaspberryPi3/</a:t>
            </a:r>
            <a:r>
              <a:rPr lang="zh-CN" altLang="en-US" sz="20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目录下</a:t>
            </a:r>
            <a:endParaRPr lang="en-US" altLang="zh-CN" sz="2000" b="1" i="0" dirty="0">
              <a:solidFill>
                <a:srgbClr val="43436B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与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Raspberry Pi 3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平台相关的端口层实现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ASM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平台相关的底层操作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macro.h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头文件，包含了与平台相关的宏定义和类型定义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emMang</a:t>
            </a:r>
            <a:r>
              <a:rPr lang="en-US" altLang="zh-CN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/heap_1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一个简单的堆内存管理器的实现。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002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基本方法与原则</a:t>
            </a:r>
            <a:endParaRPr lang="zh-CN" dirty="0">
              <a:latin typeface="+mj-ea"/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4" y="1487336"/>
            <a:ext cx="594635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基本方法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将源码的函数进行拆分为各种简单的函数或方法，然后整合</a:t>
            </a:r>
            <a:endParaRPr lang="en-US" sz="1600" dirty="0">
              <a:latin typeface="+mj-ea"/>
              <a:ea typeface="+mj-ea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改写原则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保留源码中的所有函数，函数的命名相应的改为符合</a:t>
            </a:r>
            <a:r>
              <a:rPr lang="en-US" sz="1600" dirty="0">
                <a:latin typeface="+mj-ea"/>
                <a:ea typeface="+mj-ea"/>
              </a:rPr>
              <a:t>Rust</a:t>
            </a:r>
            <a:r>
              <a:rPr lang="zh-CN" sz="1600" dirty="0">
                <a:latin typeface="+mj-ea"/>
                <a:ea typeface="+mj-ea"/>
              </a:rPr>
              <a:t>命名规范的版本，如“</a:t>
            </a:r>
            <a:r>
              <a:rPr lang="en-US" sz="1600" dirty="0" err="1">
                <a:latin typeface="Consolas" panose="020B0609020204030204" pitchFamily="49" charset="0"/>
                <a:ea typeface="+mj-ea"/>
              </a:rPr>
              <a:t>vInitialiseList</a:t>
            </a:r>
            <a:r>
              <a:rPr lang="zh-CN" sz="1600" dirty="0">
                <a:latin typeface="+mj-ea"/>
                <a:ea typeface="+mj-ea"/>
              </a:rPr>
              <a:t>”改为“</a:t>
            </a:r>
            <a:r>
              <a:rPr lang="en-US" sz="1600" dirty="0" err="1">
                <a:latin typeface="Consolas" panose="020B0609020204030204" pitchFamily="49" charset="0"/>
                <a:ea typeface="+mj-ea"/>
              </a:rPr>
              <a:t>initialize_list</a:t>
            </a:r>
            <a:r>
              <a:rPr lang="zh-CN" sz="1600" dirty="0">
                <a:latin typeface="+mj-ea"/>
                <a:ea typeface="+mj-ea"/>
              </a:rPr>
              <a:t>”</a:t>
            </a:r>
            <a:endParaRPr sz="1600" dirty="0">
              <a:latin typeface="+mj-ea"/>
              <a:ea typeface="+mj-ea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与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的相互调用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71FCF01-A869-E2B6-7979-538FD9D4C8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1701" y="452521"/>
            <a:ext cx="4320000" cy="21587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BFACD2D-4336-1981-0C27-DABF9820BB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3464" y="1487766"/>
            <a:ext cx="4320000" cy="22470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1341097F-D9CA-537D-F4AA-D58F83E76C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1701" y="2998036"/>
            <a:ext cx="4320000" cy="21978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469EE2C-B154-2D2B-5881-069D6174A1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3464" y="4096983"/>
            <a:ext cx="4320000" cy="25464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1" name="直接连接符 7">
            <a:extLst>
              <a:ext uri="{FF2B5EF4-FFF2-40B4-BE49-F238E27FC236}">
                <a16:creationId xmlns:a16="http://schemas.microsoft.com/office/drawing/2014/main" id="{A006FCE6-D529-6127-8DFD-9307BBEA6BE5}"/>
              </a:ext>
            </a:extLst>
          </p:cNvPr>
          <p:cNvCxnSpPr>
            <a:cxnSpLocks/>
          </p:cNvCxnSpPr>
          <p:nvPr/>
        </p:nvCxnSpPr>
        <p:spPr>
          <a:xfrm>
            <a:off x="5810300" y="628058"/>
            <a:ext cx="0" cy="552160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8">
            <a:extLst>
              <a:ext uri="{FF2B5EF4-FFF2-40B4-BE49-F238E27FC236}">
                <a16:creationId xmlns:a16="http://schemas.microsoft.com/office/drawing/2014/main" id="{36F1401D-FB85-F0C8-0A3D-E6D696D4A1DA}"/>
              </a:ext>
            </a:extLst>
          </p:cNvPr>
          <p:cNvGrpSpPr/>
          <p:nvPr/>
        </p:nvGrpSpPr>
        <p:grpSpPr>
          <a:xfrm>
            <a:off x="5707887" y="1429090"/>
            <a:ext cx="569672" cy="204820"/>
            <a:chOff x="5964215" y="1531583"/>
            <a:chExt cx="621997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椭圆 8">
              <a:extLst>
                <a:ext uri="{FF2B5EF4-FFF2-40B4-BE49-F238E27FC236}">
                  <a16:creationId xmlns:a16="http://schemas.microsoft.com/office/drawing/2014/main" id="{A5D62335-FD36-38B0-7766-3C7F36C4F49E}"/>
                </a:ext>
              </a:extLst>
            </p:cNvPr>
            <p:cNvSpPr/>
            <p:nvPr/>
          </p:nvSpPr>
          <p:spPr>
            <a:xfrm>
              <a:off x="5964215" y="153158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14" name="直接连接符 12">
              <a:extLst>
                <a:ext uri="{FF2B5EF4-FFF2-40B4-BE49-F238E27FC236}">
                  <a16:creationId xmlns:a16="http://schemas.microsoft.com/office/drawing/2014/main" id="{B0CEFC62-6727-F9E4-D613-432EF064417A}"/>
                </a:ext>
              </a:extLst>
            </p:cNvPr>
            <p:cNvCxnSpPr>
              <a:cxnSpLocks/>
              <a:stCxn id="13" idx="6"/>
            </p:cNvCxnSpPr>
            <p:nvPr/>
          </p:nvCxnSpPr>
          <p:spPr>
            <a:xfrm>
              <a:off x="6187848" y="1643400"/>
              <a:ext cx="398364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2">
            <a:extLst>
              <a:ext uri="{FF2B5EF4-FFF2-40B4-BE49-F238E27FC236}">
                <a16:creationId xmlns:a16="http://schemas.microsoft.com/office/drawing/2014/main" id="{6809C09A-74E0-C62D-6266-D637F4F5CE22}"/>
              </a:ext>
            </a:extLst>
          </p:cNvPr>
          <p:cNvGrpSpPr/>
          <p:nvPr/>
        </p:nvGrpSpPr>
        <p:grpSpPr>
          <a:xfrm>
            <a:off x="5707889" y="3994573"/>
            <a:ext cx="569670" cy="204820"/>
            <a:chOff x="5964215" y="4790393"/>
            <a:chExt cx="62199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椭圆 10">
              <a:extLst>
                <a:ext uri="{FF2B5EF4-FFF2-40B4-BE49-F238E27FC236}">
                  <a16:creationId xmlns:a16="http://schemas.microsoft.com/office/drawing/2014/main" id="{CC8E7032-446D-12DD-2DF6-8461CE784F91}"/>
                </a:ext>
              </a:extLst>
            </p:cNvPr>
            <p:cNvSpPr/>
            <p:nvPr/>
          </p:nvSpPr>
          <p:spPr>
            <a:xfrm>
              <a:off x="5964215" y="479039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17" name="直接连接符 14">
              <a:extLst>
                <a:ext uri="{FF2B5EF4-FFF2-40B4-BE49-F238E27FC236}">
                  <a16:creationId xmlns:a16="http://schemas.microsoft.com/office/drawing/2014/main" id="{601E5B84-F17F-549A-CD34-67A603D9463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9738" y="4902208"/>
              <a:ext cx="396472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0CEE4C4-3472-E9D5-EF9B-CFA442ED156A}"/>
              </a:ext>
            </a:extLst>
          </p:cNvPr>
          <p:cNvGrpSpPr/>
          <p:nvPr/>
        </p:nvGrpSpPr>
        <p:grpSpPr>
          <a:xfrm flipH="1">
            <a:off x="5235551" y="2508890"/>
            <a:ext cx="673814" cy="204820"/>
            <a:chOff x="5964215" y="3033279"/>
            <a:chExt cx="73570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椭圆 9">
              <a:extLst>
                <a:ext uri="{FF2B5EF4-FFF2-40B4-BE49-F238E27FC236}">
                  <a16:creationId xmlns:a16="http://schemas.microsoft.com/office/drawing/2014/main" id="{51DB9E73-A06E-8E4A-C5D0-695B25233911}"/>
                </a:ext>
              </a:extLst>
            </p:cNvPr>
            <p:cNvSpPr/>
            <p:nvPr/>
          </p:nvSpPr>
          <p:spPr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20" name="直接连接符 16">
              <a:extLst>
                <a:ext uri="{FF2B5EF4-FFF2-40B4-BE49-F238E27FC236}">
                  <a16:creationId xmlns:a16="http://schemas.microsoft.com/office/drawing/2014/main" id="{5BBE6B19-35C6-54E1-0F18-B1981047B147}"/>
                </a:ext>
              </a:extLst>
            </p:cNvPr>
            <p:cNvCxnSpPr>
              <a:cxnSpLocks/>
            </p:cNvCxnSpPr>
            <p:nvPr/>
          </p:nvCxnSpPr>
          <p:spPr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10">
            <a:extLst>
              <a:ext uri="{FF2B5EF4-FFF2-40B4-BE49-F238E27FC236}">
                <a16:creationId xmlns:a16="http://schemas.microsoft.com/office/drawing/2014/main" id="{B70C78C3-56A5-569F-5A9A-9F576DA0ECE0}"/>
              </a:ext>
            </a:extLst>
          </p:cNvPr>
          <p:cNvGrpSpPr/>
          <p:nvPr/>
        </p:nvGrpSpPr>
        <p:grpSpPr>
          <a:xfrm flipH="1">
            <a:off x="5238891" y="5267822"/>
            <a:ext cx="673814" cy="204820"/>
            <a:chOff x="5964215" y="3033279"/>
            <a:chExt cx="73570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4" name="椭圆 9">
              <a:extLst>
                <a:ext uri="{FF2B5EF4-FFF2-40B4-BE49-F238E27FC236}">
                  <a16:creationId xmlns:a16="http://schemas.microsoft.com/office/drawing/2014/main" id="{72688116-B09C-6DC9-5974-2F0619DD3AFD}"/>
                </a:ext>
              </a:extLst>
            </p:cNvPr>
            <p:cNvSpPr/>
            <p:nvPr/>
          </p:nvSpPr>
          <p:spPr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35" name="直接连接符 16">
              <a:extLst>
                <a:ext uri="{FF2B5EF4-FFF2-40B4-BE49-F238E27FC236}">
                  <a16:creationId xmlns:a16="http://schemas.microsoft.com/office/drawing/2014/main" id="{944BF9A9-4EF5-5FCA-9262-C260D8A024DE}"/>
                </a:ext>
              </a:extLst>
            </p:cNvPr>
            <p:cNvCxnSpPr>
              <a:cxnSpLocks/>
            </p:cNvCxnSpPr>
            <p:nvPr/>
          </p:nvCxnSpPr>
          <p:spPr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标题 1">
            <a:extLst>
              <a:ext uri="{FF2B5EF4-FFF2-40B4-BE49-F238E27FC236}">
                <a16:creationId xmlns:a16="http://schemas.microsoft.com/office/drawing/2014/main" id="{A819EE68-57A5-2636-39D2-0F073EE3A325}"/>
              </a:ext>
            </a:extLst>
          </p:cNvPr>
          <p:cNvSpPr txBox="1">
            <a:spLocks/>
          </p:cNvSpPr>
          <p:nvPr/>
        </p:nvSpPr>
        <p:spPr bwMode="auto">
          <a:xfrm>
            <a:off x="6277559" y="5471211"/>
            <a:ext cx="483065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altLang="en-US" sz="28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逐个突破关键点</a:t>
            </a:r>
            <a:endParaRPr lang="en-US" altLang="zh-CN" sz="2800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  <a:p>
            <a:pPr>
              <a:defRPr/>
            </a:pPr>
            <a:r>
              <a:rPr lang="zh-CN" altLang="en-US" sz="28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为项目可行性提供了坚实保证</a:t>
            </a:r>
          </a:p>
        </p:txBody>
      </p:sp>
    </p:spTree>
    <p:extLst>
      <p:ext uri="{BB962C8B-B14F-4D97-AF65-F5344CB8AC3E}">
        <p14:creationId xmlns:p14="http://schemas.microsoft.com/office/powerpoint/2010/main" val="1703409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9461B5A-7EBA-0379-3FA7-0BC8B64E6FD0}"/>
              </a:ext>
            </a:extLst>
          </p:cNvPr>
          <p:cNvSpPr txBox="1"/>
          <p:nvPr/>
        </p:nvSpPr>
        <p:spPr bwMode="auto">
          <a:xfrm>
            <a:off x="950794" y="2370986"/>
            <a:ext cx="10290412" cy="3362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问题：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所有权问题在链表中尤为突出。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链表中的链表项可能会在多个地方被使用，它们在使用完后会被释放，而这会导致链表项的生命周期提前结束。</a:t>
            </a: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解决方案：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使用数据结构</a:t>
            </a:r>
            <a:r>
              <a:rPr lang="en-US" altLang="zh-CN" dirty="0"/>
              <a:t>Arc</a:t>
            </a:r>
            <a:r>
              <a:rPr lang="zh-CN" altLang="en-US" dirty="0"/>
              <a:t>将数据包裹，</a:t>
            </a:r>
            <a:r>
              <a:rPr lang="zh-CN" altLang="en-US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它能够统计程序的不同地方对某个变量的引用，并且进行计数。</a:t>
            </a:r>
            <a:endParaRPr lang="en-US" altLang="zh-CN" b="0" i="0" dirty="0">
              <a:solidFill>
                <a:srgbClr val="1F2328"/>
              </a:solidFill>
              <a:effectLst/>
              <a:highlight>
                <a:srgbClr val="FFFFFF"/>
              </a:highlight>
              <a:latin typeface="-apple-system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只要存在这样的引用，程序就不会自动释放这个变量，从而确保了变量的有效性。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6634989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9461B5A-7EBA-0379-3FA7-0BC8B64E6FD0}"/>
              </a:ext>
            </a:extLst>
          </p:cNvPr>
          <p:cNvSpPr txBox="1"/>
          <p:nvPr/>
        </p:nvSpPr>
        <p:spPr bwMode="auto">
          <a:xfrm>
            <a:off x="950794" y="2370986"/>
            <a:ext cx="10290412" cy="2531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然而，使用</a:t>
            </a:r>
            <a:r>
              <a:rPr lang="en-US" altLang="zh-CN" dirty="0"/>
              <a:t>Arc</a:t>
            </a:r>
            <a:r>
              <a:rPr lang="zh-CN" altLang="en-US" dirty="0"/>
              <a:t>包裹数据又会产生新的问题</a:t>
            </a:r>
            <a:r>
              <a:rPr lang="en-US" altLang="zh-CN" dirty="0"/>
              <a:t>——</a:t>
            </a:r>
            <a:r>
              <a:rPr lang="zh-CN" altLang="en-US" dirty="0"/>
              <a:t>循环引用。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如果</a:t>
            </a:r>
            <a:r>
              <a:rPr lang="en-US" altLang="zh-CN" dirty="0"/>
              <a:t>A</a:t>
            </a:r>
            <a:r>
              <a:rPr lang="zh-CN" altLang="en-US" dirty="0"/>
              <a:t>引用</a:t>
            </a:r>
            <a:r>
              <a:rPr lang="en-US" altLang="zh-CN" dirty="0"/>
              <a:t>B</a:t>
            </a:r>
            <a:r>
              <a:rPr lang="zh-CN" altLang="en-US" dirty="0"/>
              <a:t>，</a:t>
            </a:r>
            <a:r>
              <a:rPr lang="en-US" altLang="zh-CN" dirty="0"/>
              <a:t>B</a:t>
            </a:r>
            <a:r>
              <a:rPr lang="zh-CN" altLang="en-US" dirty="0"/>
              <a:t>引用</a:t>
            </a:r>
            <a:r>
              <a:rPr lang="en-US" altLang="zh-CN" dirty="0"/>
              <a:t>A</a:t>
            </a:r>
            <a:r>
              <a:rPr lang="zh-CN" altLang="en-US" dirty="0"/>
              <a:t>，那么</a:t>
            </a:r>
            <a:r>
              <a:rPr lang="en-US" altLang="zh-CN" dirty="0"/>
              <a:t>A</a:t>
            </a:r>
            <a:r>
              <a:rPr lang="zh-CN" altLang="en-US" dirty="0"/>
              <a:t>，</a:t>
            </a:r>
            <a:r>
              <a:rPr lang="en-US" altLang="zh-CN" dirty="0"/>
              <a:t>B</a:t>
            </a:r>
            <a:r>
              <a:rPr lang="zh-CN" altLang="en-US" dirty="0"/>
              <a:t>就永远无法被释放！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解决方案：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引入弱引用</a:t>
            </a:r>
            <a:r>
              <a:rPr lang="en-US" altLang="zh-CN" dirty="0"/>
              <a:t>Weak</a:t>
            </a:r>
            <a:r>
              <a:rPr lang="zh-CN" altLang="en-US" dirty="0"/>
              <a:t>，它不会增加引用数。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同时，利用</a:t>
            </a:r>
            <a:r>
              <a:rPr lang="en-US" altLang="zh-CN" dirty="0"/>
              <a:t>Rust</a:t>
            </a:r>
            <a:r>
              <a:rPr lang="zh-CN" altLang="en-US" dirty="0"/>
              <a:t>的</a:t>
            </a:r>
            <a:r>
              <a:rPr lang="en-US" altLang="zh-CN" dirty="0"/>
              <a:t>upgrade</a:t>
            </a:r>
            <a:r>
              <a:rPr lang="zh-CN" altLang="en-US" dirty="0"/>
              <a:t>和</a:t>
            </a:r>
            <a:r>
              <a:rPr lang="en-US" altLang="zh-CN" dirty="0"/>
              <a:t>downgrade</a:t>
            </a:r>
            <a:r>
              <a:rPr lang="zh-CN" altLang="en-US" dirty="0"/>
              <a:t>函数可以实现强引用</a:t>
            </a:r>
            <a:r>
              <a:rPr lang="en-US" altLang="zh-CN" dirty="0"/>
              <a:t>Arc</a:t>
            </a:r>
            <a:r>
              <a:rPr lang="zh-CN" altLang="en-US" dirty="0"/>
              <a:t>和弱引用</a:t>
            </a:r>
            <a:r>
              <a:rPr lang="en-US" altLang="zh-CN" dirty="0"/>
              <a:t>Weak</a:t>
            </a:r>
            <a:r>
              <a:rPr lang="zh-CN" altLang="en-US" dirty="0"/>
              <a:t>之间的转换，合理增减变量的引用数。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121824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FB31F1F-FCF1-813D-DBC8-B570B3322302}"/>
              </a:ext>
            </a:extLst>
          </p:cNvPr>
          <p:cNvSpPr txBox="1"/>
          <p:nvPr/>
        </p:nvSpPr>
        <p:spPr bwMode="auto">
          <a:xfrm>
            <a:off x="675564" y="1295400"/>
            <a:ext cx="8154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问题：编译时报错头文件中的</a:t>
            </a:r>
            <a:r>
              <a:rPr lang="en-US" altLang="zh-CN" dirty="0"/>
              <a:t>const</a:t>
            </a:r>
            <a:r>
              <a:rPr lang="zh-CN" altLang="en-US" dirty="0"/>
              <a:t>常量重复定义，如下图。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7BEF688-7BC2-5066-46E7-5FAD3CB9F6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3802" y="1911023"/>
            <a:ext cx="7375985" cy="414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5667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AD5EAD1-E25C-7320-F1DC-F9D966D32FB5}"/>
              </a:ext>
            </a:extLst>
          </p:cNvPr>
          <p:cNvSpPr txBox="1"/>
          <p:nvPr/>
        </p:nvSpPr>
        <p:spPr bwMode="auto">
          <a:xfrm>
            <a:off x="675564" y="1295400"/>
            <a:ext cx="8536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解决方案：将重复定义的</a:t>
            </a:r>
            <a:r>
              <a:rPr lang="en-US" altLang="zh-CN" dirty="0"/>
              <a:t>const</a:t>
            </a:r>
            <a:r>
              <a:rPr lang="zh-CN" altLang="en-US" dirty="0"/>
              <a:t>常量改成宏定义的形式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DD7B540-798F-0F77-7675-E87171A6BE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75564" y="1902055"/>
            <a:ext cx="8698981" cy="3797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1948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0358718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一部分具有函数功能的宏被忽略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29259B6-9CE7-BC11-8FC6-959A8666149D}"/>
              </a:ext>
            </a:extLst>
          </p:cNvPr>
          <p:cNvSpPr txBox="1"/>
          <p:nvPr/>
        </p:nvSpPr>
        <p:spPr bwMode="auto">
          <a:xfrm>
            <a:off x="533400" y="1295400"/>
            <a:ext cx="8154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问题：在使用</a:t>
            </a:r>
            <a:r>
              <a:rPr lang="en-US" altLang="zh-CN" dirty="0" err="1"/>
              <a:t>bindgen</a:t>
            </a:r>
            <a:r>
              <a:rPr lang="zh-CN" altLang="en-US" dirty="0"/>
              <a:t>时，头文件中的一部分具有函数功能的宏会被忽略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6F2E03BE-33FD-71D9-A3CF-0751A0746E8F}"/>
              </a:ext>
            </a:extLst>
          </p:cNvPr>
          <p:cNvSpPr txBox="1"/>
          <p:nvPr/>
        </p:nvSpPr>
        <p:spPr bwMode="auto">
          <a:xfrm>
            <a:off x="533401" y="1801505"/>
            <a:ext cx="4251959" cy="4196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解决方案：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方案一：专门写一个函数来扫描所有头文件，将具有函数功能的宏以</a:t>
            </a:r>
            <a:r>
              <a:rPr lang="en-US" altLang="zh-CN" dirty="0"/>
              <a:t>macro</a:t>
            </a:r>
            <a:r>
              <a:rPr lang="zh-CN" altLang="en-US" dirty="0"/>
              <a:t>的形式追加到</a:t>
            </a:r>
            <a:r>
              <a:rPr lang="en-US" altLang="zh-CN" dirty="0" err="1"/>
              <a:t>bindgen</a:t>
            </a:r>
            <a:r>
              <a:rPr lang="zh-CN" altLang="en-US" dirty="0"/>
              <a:t>末尾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方案二：手动将所有具有函数功能的宏修改为具有相同名称和功能的函数</a:t>
            </a: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0E8CE72B-FDED-4968-2E4E-4650698AED6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9365"/>
          <a:stretch/>
        </p:blipFill>
        <p:spPr bwMode="auto">
          <a:xfrm>
            <a:off x="6096000" y="2774401"/>
            <a:ext cx="5374864" cy="2523434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2DBE2577-EB7D-567C-569A-272D41CF1AF6}"/>
              </a:ext>
            </a:extLst>
          </p:cNvPr>
          <p:cNvSpPr txBox="1"/>
          <p:nvPr/>
        </p:nvSpPr>
        <p:spPr>
          <a:xfrm>
            <a:off x="6286027" y="1801505"/>
            <a:ext cx="48038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由于这样的宏并不是很多，所以我们选择了方案二，下面就是一个修改宏的例子：</a:t>
            </a:r>
          </a:p>
        </p:txBody>
      </p:sp>
    </p:spTree>
    <p:extLst>
      <p:ext uri="{BB962C8B-B14F-4D97-AF65-F5344CB8AC3E}">
        <p14:creationId xmlns:p14="http://schemas.microsoft.com/office/powerpoint/2010/main" val="35156878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95378" y="572069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410570" y="1143569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410570" y="1143569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410570" y="1715069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943970" y="1920706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1025346" y="3148645"/>
            <a:ext cx="3465001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6000" dirty="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sz="5400" dirty="0"/>
          </a:p>
        </p:txBody>
      </p:sp>
      <p:sp>
        <p:nvSpPr>
          <p:cNvPr id="32" name="Title 1"/>
          <p:cNvSpPr txBox="1"/>
          <p:nvPr/>
        </p:nvSpPr>
        <p:spPr bwMode="auto">
          <a:xfrm>
            <a:off x="5612413" y="114356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 dirty="0"/>
          </a:p>
        </p:txBody>
      </p:sp>
      <p:sp>
        <p:nvSpPr>
          <p:cNvPr id="33" name="Title 1"/>
          <p:cNvSpPr txBox="1"/>
          <p:nvPr/>
        </p:nvSpPr>
        <p:spPr bwMode="auto">
          <a:xfrm>
            <a:off x="6486998" y="1197426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3200" dirty="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09350" y="2292625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 dirty="0"/>
          </a:p>
        </p:txBody>
      </p:sp>
      <p:sp>
        <p:nvSpPr>
          <p:cNvPr id="35" name="Title 1"/>
          <p:cNvSpPr txBox="1"/>
          <p:nvPr/>
        </p:nvSpPr>
        <p:spPr bwMode="auto">
          <a:xfrm>
            <a:off x="6486147" y="2298901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09350" y="342388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7" name="Title 1"/>
          <p:cNvSpPr txBox="1"/>
          <p:nvPr/>
        </p:nvSpPr>
        <p:spPr bwMode="auto">
          <a:xfrm>
            <a:off x="6486147" y="342388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09350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09350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658323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658323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48630C2-477A-3DCB-E124-791AC7F3A0CD}"/>
              </a:ext>
            </a:extLst>
          </p:cNvPr>
          <p:cNvSpPr txBox="1"/>
          <p:nvPr/>
        </p:nvSpPr>
        <p:spPr bwMode="auto">
          <a:xfrm>
            <a:off x="5609350" y="445219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2660AB-BF50-1FE1-6971-698909309D34}"/>
              </a:ext>
            </a:extLst>
          </p:cNvPr>
          <p:cNvSpPr txBox="1"/>
          <p:nvPr/>
        </p:nvSpPr>
        <p:spPr bwMode="auto">
          <a:xfrm>
            <a:off x="6486147" y="445219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>
            <a:extLst>
              <a:ext uri="{FF2B5EF4-FFF2-40B4-BE49-F238E27FC236}">
                <a16:creationId xmlns:a16="http://schemas.microsoft.com/office/drawing/2014/main" id="{DAEF5943-E732-321B-DBDD-39052AE740DA}"/>
              </a:ext>
            </a:extLst>
          </p:cNvPr>
          <p:cNvCxnSpPr>
            <a:cxnSpLocks/>
          </p:cNvCxnSpPr>
          <p:nvPr/>
        </p:nvCxnSpPr>
        <p:spPr bwMode="auto">
          <a:xfrm>
            <a:off x="5609350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46">
            <a:extLst>
              <a:ext uri="{FF2B5EF4-FFF2-40B4-BE49-F238E27FC236}">
                <a16:creationId xmlns:a16="http://schemas.microsoft.com/office/drawing/2014/main" id="{E6278598-3D8A-5EC6-0AF9-1CFBE7F2DB46}"/>
              </a:ext>
            </a:extLst>
          </p:cNvPr>
          <p:cNvCxnSpPr>
            <a:cxnSpLocks/>
          </p:cNvCxnSpPr>
          <p:nvPr/>
        </p:nvCxnSpPr>
        <p:spPr bwMode="auto">
          <a:xfrm>
            <a:off x="8658323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A6C55BD-BAF2-04F0-D8AD-ED231EDA06F1}"/>
              </a:ext>
            </a:extLst>
          </p:cNvPr>
          <p:cNvSpPr txBox="1"/>
          <p:nvPr/>
        </p:nvSpPr>
        <p:spPr bwMode="auto">
          <a:xfrm>
            <a:off x="533400" y="1658470"/>
            <a:ext cx="10768083" cy="2116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dirty="0"/>
              <a:t>问题：上板时为</a:t>
            </a:r>
            <a:r>
              <a:rPr lang="en-US" dirty="0"/>
              <a:t>no-std</a:t>
            </a:r>
            <a:r>
              <a:rPr lang="zh-CN" dirty="0"/>
              <a:t>环境，这意味着不支持</a:t>
            </a:r>
            <a:r>
              <a:rPr lang="en-US" dirty="0"/>
              <a:t>std</a:t>
            </a:r>
            <a:r>
              <a:rPr lang="zh-CN" dirty="0"/>
              <a:t>库</a:t>
            </a:r>
            <a:r>
              <a:rPr lang="zh-CN" altLang="en-US" dirty="0"/>
              <a:t>，而我们的代码中大量使用了</a:t>
            </a:r>
            <a:r>
              <a:rPr lang="en-US" altLang="zh-CN" dirty="0"/>
              <a:t>std</a:t>
            </a:r>
            <a:r>
              <a:rPr lang="zh-CN" altLang="en-US" dirty="0"/>
              <a:t>库的功能</a:t>
            </a:r>
            <a:r>
              <a:rPr lang="zh-CN" dirty="0"/>
              <a:t>。</a:t>
            </a:r>
            <a:endParaRPr lang="en-US" dirty="0"/>
          </a:p>
          <a:p>
            <a:pPr>
              <a:defRPr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dirty="0"/>
              <a:t>解决方案：使用</a:t>
            </a:r>
            <a:r>
              <a:rPr lang="en-US" dirty="0"/>
              <a:t>no-std</a:t>
            </a:r>
            <a:r>
              <a:rPr lang="zh-CN" dirty="0"/>
              <a:t>环境支持的库如</a:t>
            </a:r>
            <a:r>
              <a:rPr lang="en-US" dirty="0"/>
              <a:t>core</a:t>
            </a:r>
            <a:r>
              <a:rPr lang="zh-CN" dirty="0"/>
              <a:t>，</a:t>
            </a:r>
            <a:r>
              <a:rPr lang="en-US" dirty="0" err="1"/>
              <a:t>alloc</a:t>
            </a:r>
            <a:r>
              <a:rPr lang="zh-CN" dirty="0"/>
              <a:t>等来替代</a:t>
            </a:r>
            <a:r>
              <a:rPr lang="en-US" dirty="0"/>
              <a:t>std</a:t>
            </a:r>
            <a:r>
              <a:rPr lang="zh-CN" dirty="0"/>
              <a:t>：</a:t>
            </a:r>
            <a:endParaRPr lang="en-US" dirty="0"/>
          </a:p>
          <a:p>
            <a:pPr marL="742950" lvl="1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dirty="0"/>
              <a:t>core</a:t>
            </a:r>
            <a:r>
              <a:rPr lang="zh-CN" dirty="0"/>
              <a:t>：</a:t>
            </a:r>
            <a:r>
              <a:rPr lang="zh-CN" altLang="en-US" sz="1600" dirty="0"/>
              <a:t>核心库，提供</a:t>
            </a:r>
            <a:r>
              <a:rPr lang="en-US" altLang="zh-CN" sz="1600" dirty="0"/>
              <a:t>Rust</a:t>
            </a:r>
            <a:r>
              <a:rPr lang="zh-CN" altLang="en-US" sz="1600" dirty="0"/>
              <a:t>语言的基础设施，如基础数据类型、操作符、宏等</a:t>
            </a:r>
            <a:endParaRPr lang="en-US" sz="1600" dirty="0"/>
          </a:p>
          <a:p>
            <a:pPr marL="742950" lvl="1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dirty="0" err="1"/>
              <a:t>alloc</a:t>
            </a:r>
            <a:r>
              <a:rPr lang="zh-CN" dirty="0"/>
              <a:t>：</a:t>
            </a:r>
            <a:r>
              <a:rPr lang="zh-CN" altLang="en-US" sz="1600" dirty="0"/>
              <a:t>提供动态内存分配的支持</a:t>
            </a:r>
            <a:endParaRPr lang="en-US" altLang="zh-CN" sz="1600" dirty="0"/>
          </a:p>
          <a:p>
            <a:pPr marL="742950" lvl="1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altLang="zh-CN" dirty="0" err="1"/>
              <a:t>no_std_async</a:t>
            </a:r>
            <a:r>
              <a:rPr lang="zh-CN" altLang="en-US" dirty="0"/>
              <a:t>：</a:t>
            </a:r>
            <a:r>
              <a:rPr lang="zh-CN" altLang="en-US" sz="1600" dirty="0"/>
              <a:t>专为</a:t>
            </a:r>
            <a:r>
              <a:rPr lang="en-US" altLang="zh-CN" sz="1600" dirty="0"/>
              <a:t>no-std</a:t>
            </a:r>
            <a:r>
              <a:rPr lang="zh-CN" altLang="en-US" sz="1600" dirty="0"/>
              <a:t>环境设计的异步库，旨在提供不依赖标准库的情况下使用异步编程的能力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3917726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E6B97F4-113F-5370-5F0C-846ADA2DF5A8}"/>
              </a:ext>
            </a:extLst>
          </p:cNvPr>
          <p:cNvSpPr txBox="1"/>
          <p:nvPr/>
        </p:nvSpPr>
        <p:spPr>
          <a:xfrm>
            <a:off x="533399" y="1468104"/>
            <a:ext cx="11261036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在代码的具体实现中，我们做了以下替换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sync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 =&gt; core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core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boxed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box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mem =&gt; core::m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ynctools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>
              <a:lnSpc>
                <a:spcPct val="150000"/>
              </a:lnSpc>
            </a:pPr>
            <a:r>
              <a:rPr lang="zh-CN" altLang="en-US" dirty="0"/>
              <a:t>此外，在实现某些功能时，还引入了诸如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core::marker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hantomData</a:t>
            </a:r>
            <a:r>
              <a:rPr lang="zh-CN" altLang="en-US" dirty="0"/>
              <a:t>等</a:t>
            </a:r>
            <a:r>
              <a:rPr lang="en-US" altLang="zh-CN" dirty="0"/>
              <a:t>no-std</a:t>
            </a:r>
            <a:r>
              <a:rPr lang="zh-CN" altLang="en-US" dirty="0"/>
              <a:t>环境的库中的内容。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986875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C7AC784-A136-387E-B4CD-2562395FC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05DF3D3-B002-E8A2-110B-B21156170929}"/>
              </a:ext>
            </a:extLst>
          </p:cNvPr>
          <p:cNvSpPr txBox="1"/>
          <p:nvPr/>
        </p:nvSpPr>
        <p:spPr>
          <a:xfrm>
            <a:off x="655093" y="1473958"/>
            <a:ext cx="10174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数据结构定义：</a:t>
            </a:r>
            <a:endParaRPr lang="en-US" altLang="zh-CN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0195C08-D154-ACB8-AC5C-539390E02927}"/>
              </a:ext>
            </a:extLst>
          </p:cNvPr>
          <p:cNvSpPr txBox="1"/>
          <p:nvPr/>
        </p:nvSpPr>
        <p:spPr>
          <a:xfrm>
            <a:off x="655094" y="2032166"/>
            <a:ext cx="25862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链表项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70874DDA-18B9-F032-E32A-62B4CCE6F089}"/>
              </a:ext>
            </a:extLst>
          </p:cNvPr>
          <p:cNvSpPr txBox="1"/>
          <p:nvPr/>
        </p:nvSpPr>
        <p:spPr>
          <a:xfrm>
            <a:off x="6096000" y="2021848"/>
            <a:ext cx="25862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链表</a:t>
            </a:r>
            <a:endParaRPr lang="en-US" altLang="zh-CN" dirty="0"/>
          </a:p>
          <a:p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46C36FB-A7FB-5646-7F5F-F6A8EE360C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4282" y="2487321"/>
            <a:ext cx="5548706" cy="279425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450F4973-1AAD-361E-06BC-1B78676607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150" y="2487321"/>
            <a:ext cx="4987146" cy="2886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1963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75048B6-B04C-F0FB-6AF7-2280E9B4A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DE7BCD7-4562-B1B8-FB74-6FC45C0FB920}"/>
              </a:ext>
            </a:extLst>
          </p:cNvPr>
          <p:cNvSpPr txBox="1"/>
          <p:nvPr/>
        </p:nvSpPr>
        <p:spPr>
          <a:xfrm>
            <a:off x="665203" y="1535373"/>
            <a:ext cx="93282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首先，为链表项实现一系列基本功能。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右边是</a:t>
            </a:r>
            <a:r>
              <a:rPr lang="zh-CN" altLang="en-US" sz="1800" dirty="0"/>
              <a:t>为链表项定义的一系列方法：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9DF0F0E-D870-89EE-CC1C-942985A42E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2416" y="624764"/>
            <a:ext cx="4917545" cy="5377218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F916AD6F-5719-F582-7948-BBF73EA59743}"/>
              </a:ext>
            </a:extLst>
          </p:cNvPr>
          <p:cNvSpPr txBox="1"/>
          <p:nvPr/>
        </p:nvSpPr>
        <p:spPr>
          <a:xfrm>
            <a:off x="7369792" y="6143823"/>
            <a:ext cx="3104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图例：为链表项定义的一系列方法</a:t>
            </a:r>
          </a:p>
        </p:txBody>
      </p:sp>
    </p:spTree>
    <p:extLst>
      <p:ext uri="{BB962C8B-B14F-4D97-AF65-F5344CB8AC3E}">
        <p14:creationId xmlns:p14="http://schemas.microsoft.com/office/powerpoint/2010/main" val="11471888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1E03129-34D7-77D7-4A13-195A618C0B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64324D1-3FBF-7F02-B1E5-ED65D6E18A80}"/>
              </a:ext>
            </a:extLst>
          </p:cNvPr>
          <p:cNvSpPr txBox="1"/>
          <p:nvPr/>
        </p:nvSpPr>
        <p:spPr>
          <a:xfrm>
            <a:off x="668740" y="1453487"/>
            <a:ext cx="65918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然后，为链表实现一系列基本功能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937C31C-7D3D-A4FF-6445-BCE89A0101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741" y="1890215"/>
            <a:ext cx="3438478" cy="4640239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BAB84C60-BFDB-A409-EB49-94558EEE21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2982" y="1207827"/>
            <a:ext cx="5223602" cy="532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3720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029FD16-5221-E42C-CA49-66F867D3F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B419244-0445-C49C-9FF5-9F1F67F46BD4}"/>
              </a:ext>
            </a:extLst>
          </p:cNvPr>
          <p:cNvSpPr txBox="1"/>
          <p:nvPr/>
        </p:nvSpPr>
        <p:spPr>
          <a:xfrm>
            <a:off x="533400" y="1535373"/>
            <a:ext cx="105485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再实现一些基本的函数，如取得或修改链表项的前后结点，获得或修改链表项的值等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5A40EE6-2E13-1654-21B7-372F75672C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170" y="1904705"/>
            <a:ext cx="4137546" cy="467952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8827F946-C6C3-E701-4F03-6C9952CE75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8958" y="1904704"/>
            <a:ext cx="4399663" cy="464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2455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D6BA52B-E120-9CF4-6345-BD146555B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953CB7A-EECF-6099-435B-A28B917E68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5303" y="735843"/>
            <a:ext cx="5396998" cy="5528480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FFB07CC2-D90A-FAE0-393A-C7E19EE50CF8}"/>
              </a:ext>
            </a:extLst>
          </p:cNvPr>
          <p:cNvSpPr txBox="1"/>
          <p:nvPr/>
        </p:nvSpPr>
        <p:spPr>
          <a:xfrm>
            <a:off x="682388" y="1514901"/>
            <a:ext cx="43809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最后，调用前面实现的函数或方法来实现</a:t>
            </a:r>
            <a:r>
              <a:rPr lang="en-US" altLang="zh-CN" dirty="0" err="1"/>
              <a:t>list.c</a:t>
            </a:r>
            <a:r>
              <a:rPr lang="zh-CN" altLang="en-US" dirty="0"/>
              <a:t>中的相应的函数即可：</a:t>
            </a:r>
          </a:p>
        </p:txBody>
      </p:sp>
    </p:spTree>
    <p:extLst>
      <p:ext uri="{BB962C8B-B14F-4D97-AF65-F5344CB8AC3E}">
        <p14:creationId xmlns:p14="http://schemas.microsoft.com/office/powerpoint/2010/main" val="25054216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301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模块简介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FreeRTOS任务管理模块，提供任务的创建、删除、挂起和恢复等操作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核心数据结构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主要数据结构为</a:t>
            </a:r>
            <a:r>
              <a:rPr sz="2400" b="0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ourier New"/>
              </a:rPr>
              <a:t>TaskControlBlock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，包含任务状态、优先级、名称等字段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关键特性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通过条件编译适应不同配置，提高模块的灵活性和安全性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6" name="标题 1">
            <a:extLst>
              <a:ext uri="{FF2B5EF4-FFF2-40B4-BE49-F238E27FC236}">
                <a16:creationId xmlns:a16="http://schemas.microsoft.com/office/drawing/2014/main" id="{CC25EA20-0879-9307-677D-1BD01B27A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65464360" name="文本框 255685436"/>
          <p:cNvSpPr txBox="1"/>
          <p:nvPr/>
        </p:nvSpPr>
        <p:spPr bwMode="auto">
          <a:xfrm>
            <a:off x="796955" y="5101610"/>
            <a:ext cx="9649197" cy="94523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lang="zh-Hans" sz="2800" b="1" i="0" u="none" strike="noStrike" cap="none" spc="0" dirty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条件编译</a:t>
            </a:r>
            <a:endParaRPr lang="zh-Hans" sz="2800" b="0" i="0" u="none" strike="noStrike" cap="none" spc="0" dirty="0">
              <a:solidFill>
                <a:srgbClr val="000000"/>
              </a:solidFill>
              <a:latin typeface="等线 Light"/>
              <a:ea typeface="等线 Light"/>
              <a:cs typeface="等线 Light"/>
            </a:endParaRPr>
          </a:p>
          <a:p>
            <a:pPr marL="394022" indent="-394022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C语言预处理指令 -&gt; #[cfg]、#[cfg_attr]等属性宏。</a:t>
            </a:r>
            <a:endParaRPr sz="2800" b="0" i="0" u="none" dirty="0">
              <a:solidFill>
                <a:srgbClr val="000000"/>
              </a:solidFill>
              <a:latin typeface="等线 Light"/>
              <a:ea typeface="等线 Light"/>
              <a:cs typeface="Times New Roman"/>
            </a:endParaRPr>
          </a:p>
        </p:txBody>
      </p:sp>
      <p:pic>
        <p:nvPicPr>
          <p:cNvPr id="839205344" name="图片 83920534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210330" y="1774211"/>
            <a:ext cx="5808624" cy="2676522"/>
          </a:xfrm>
          <a:prstGeom prst="rect">
            <a:avLst/>
          </a:prstGeom>
        </p:spPr>
      </p:pic>
      <p:pic>
        <p:nvPicPr>
          <p:cNvPr id="1275971156" name="图片 1275971155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14331" y="1625960"/>
            <a:ext cx="5175249" cy="3105149"/>
          </a:xfrm>
          <a:prstGeom prst="rect">
            <a:avLst/>
          </a:prstGeom>
        </p:spPr>
      </p:pic>
      <p:sp>
        <p:nvSpPr>
          <p:cNvPr id="1328314937" name="箭头: 右 1328314936"/>
          <p:cNvSpPr/>
          <p:nvPr/>
        </p:nvSpPr>
        <p:spPr bwMode="auto">
          <a:xfrm>
            <a:off x="5480082" y="2934673"/>
            <a:ext cx="634998" cy="428625"/>
          </a:xfrm>
          <a:prstGeom prst="rightArrow">
            <a:avLst>
              <a:gd name="adj1" fmla="val 5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4" name="标题 1">
            <a:extLst>
              <a:ext uri="{FF2B5EF4-FFF2-40B4-BE49-F238E27FC236}">
                <a16:creationId xmlns:a16="http://schemas.microsoft.com/office/drawing/2014/main" id="{E276D732-34BE-77FA-F2DB-09041290D4C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C80EE4C3-AD4C-0C98-105C-A490FD0ECDB9}"/>
              </a:ext>
            </a:extLst>
          </p:cNvPr>
          <p:cNvSpPr txBox="1"/>
          <p:nvPr/>
        </p:nvSpPr>
        <p:spPr bwMode="auto">
          <a:xfrm>
            <a:off x="906498" y="2322648"/>
            <a:ext cx="6311023" cy="2350643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te_list_item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状态列表项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riority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优先级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ask_name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名称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pointer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指针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length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长度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E53551DF-DDEA-1971-7BBE-1236FA9543B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5004951" y="2875002"/>
            <a:ext cx="218209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8000" dirty="0">
                <a:solidFill>
                  <a:schemeClr val="bg1"/>
                </a:solidFill>
                <a:latin typeface="Segoe UI"/>
                <a:cs typeface="Segoe UI"/>
              </a:rPr>
              <a:t>引言</a:t>
            </a:r>
            <a:endParaRPr sz="7200" dirty="0"/>
          </a:p>
        </p:txBody>
      </p:sp>
    </p:spTree>
    <p:extLst>
      <p:ext uri="{BB962C8B-B14F-4D97-AF65-F5344CB8AC3E}">
        <p14:creationId xmlns:p14="http://schemas.microsoft.com/office/powerpoint/2010/main" val="11197385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116628736" name="文本框 599271341"/>
          <p:cNvSpPr txBox="1"/>
          <p:nvPr/>
        </p:nvSpPr>
        <p:spPr bwMode="auto">
          <a:xfrm>
            <a:off x="779497" y="2735397"/>
            <a:ext cx="4667971" cy="167675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27936" indent="-327936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删除指定任务。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当前任务：准备删除并调度上下文切换。</a:t>
            </a:r>
            <a:endParaRPr lang="zh-Hans" sz="2600" b="0" i="0" u="none" strike="noStrike" cap="none" spc="0">
              <a:solidFill>
                <a:schemeClr val="tx1"/>
              </a:solidFill>
              <a:latin typeface="等线 Light"/>
              <a:cs typeface="等线 Light"/>
            </a:endParaRPr>
          </a:p>
          <a:p>
            <a:pPr marL="371992" indent="-371992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其他任务：释放任务资源。</a:t>
            </a:r>
            <a:endParaRPr sz="2600">
              <a:latin typeface="等线 Light"/>
              <a:ea typeface="等线 Light"/>
            </a:endParaRPr>
          </a:p>
        </p:txBody>
      </p:sp>
      <p:pic>
        <p:nvPicPr>
          <p:cNvPr id="325906725" name="图片 325906724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24224" y="1231899"/>
            <a:ext cx="6177274" cy="4832348"/>
          </a:xfrm>
          <a:prstGeom prst="rect">
            <a:avLst/>
          </a:prstGeom>
        </p:spPr>
      </p:pic>
      <p:sp>
        <p:nvSpPr>
          <p:cNvPr id="4" name="标题 1">
            <a:extLst>
              <a:ext uri="{FF2B5EF4-FFF2-40B4-BE49-F238E27FC236}">
                <a16:creationId xmlns:a16="http://schemas.microsoft.com/office/drawing/2014/main" id="{407BE46F-DDEB-6299-EA26-B3AD53276C8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63980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MMU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部分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8555781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运行冒泡排序程序，统计访存时间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F8B0878E-D3F0-49B0-050F-39BD663012D3}"/>
              </a:ext>
            </a:extLst>
          </p:cNvPr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address_map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虚拟地址映射到物理地址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先查找TLB,未命中则访问页表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页表项无效时,触发页面错误</a:t>
            </a: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LRU/FIFO链表和TLB</a:t>
            </a:r>
            <a:endParaRPr sz="2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154B8755-DBD3-EFB8-E68E-79A48F2337C0}"/>
              </a:ext>
            </a:extLst>
          </p:cNvPr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pageFault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处理页面错误情况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根据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ReplacementStrategy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选择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若使用TLB,清除被替换页的TLB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脏页写回磁盘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读入导致页面错误的页到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和LRU/FIFO链表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2BBD83B7-9074-F455-2C48-E40EF37B9E18}"/>
              </a:ext>
            </a:extLst>
          </p:cNvPr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search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TLB中搜索虚拟地址映射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找到则更新引用位和脏位</a:t>
            </a: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未找到返回</a:t>
            </a: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-1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(TLB未命中)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2" name=" 1">
            <a:extLst>
              <a:ext uri="{FF2B5EF4-FFF2-40B4-BE49-F238E27FC236}">
                <a16:creationId xmlns:a16="http://schemas.microsoft.com/office/drawing/2014/main" id="{A5F72573-7C07-558C-6CFD-25C7916968AD}"/>
              </a:ext>
            </a:extLst>
          </p:cNvPr>
          <p:cNvSpPr/>
          <p:nvPr/>
        </p:nvSpPr>
        <p:spPr bwMode="auto">
          <a:xfrm>
            <a:off x="533400" y="1825624"/>
            <a:ext cx="5486400" cy="4422775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Ctr="0" forceAA="0" compatLnSpc="1">
            <a:prstTxWarp prst="textNoShape">
              <a:avLst/>
            </a:prstTxWarp>
            <a:normAutofit/>
          </a:bodyPr>
          <a:lstStyle/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altLang="zh-Hans" sz="2800" b="1" dirty="0" err="1">
                <a:latin typeface="Segoe UI Light"/>
                <a:cs typeface="Segoe UI Light"/>
              </a:rPr>
              <a:t>TLB_update</a:t>
            </a:r>
            <a:endParaRPr lang="en-US" altLang="zh-Hans" sz="2800" b="1" dirty="0">
              <a:latin typeface="Segoe UI Light"/>
              <a:cs typeface="Segoe UI Light"/>
            </a:endParaRP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将页号和帧号映射添加到</a:t>
            </a:r>
            <a:r>
              <a:rPr lang="en-US" altLang="zh-Hans" sz="2800" b="0" i="0" u="none" strike="noStrike" cap="none" spc="0" dirty="0">
                <a:latin typeface="Segoe UI Light"/>
                <a:cs typeface="Segoe UI Light"/>
              </a:rPr>
              <a:t>TLB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优先使用空闲条目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无空闲条目时</a:t>
            </a:r>
            <a:r>
              <a:rPr lang="zh-CN" altLang="en-US" sz="2800" dirty="0">
                <a:latin typeface="Segoe UI Light"/>
                <a:cs typeface="Segoe UI Light"/>
              </a:rPr>
              <a:t>，</a:t>
            </a: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使用</a:t>
            </a:r>
            <a:r>
              <a:rPr lang="en-US" altLang="zh-Hans" sz="2800" b="0" i="0" u="none" strike="noStrike" cap="none" spc="0" dirty="0">
                <a:latin typeface="Segoe UI Light"/>
                <a:cs typeface="Segoe UI Light"/>
              </a:rPr>
              <a:t>LRU</a:t>
            </a: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替换策略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被替换条目脏位为</a:t>
            </a:r>
            <a:r>
              <a:rPr lang="en-US" altLang="zh-Hans" sz="2800" b="0" i="0" u="none" strike="noStrike" cap="none" spc="0" dirty="0">
                <a:latin typeface="Segoe UI Light"/>
                <a:cs typeface="Segoe UI Light"/>
              </a:rPr>
              <a:t>1</a:t>
            </a:r>
            <a:r>
              <a:rPr lang="zh-CN" altLang="en-US" sz="2800" b="0" i="0" u="none" strike="noStrike" cap="none" spc="0" dirty="0">
                <a:latin typeface="Segoe UI Light"/>
                <a:cs typeface="Segoe UI Light"/>
              </a:rPr>
              <a:t>，</a:t>
            </a: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更新页表项</a:t>
            </a:r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351473" y="1825624"/>
            <a:ext cx="5127854" cy="4422775"/>
          </a:xfrm>
          <a:prstGeom prst="rect">
            <a:avLst/>
          </a:prstGeom>
          <a:noFill/>
        </p:spPr>
      </p:pic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模拟结果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5F377543-9A2A-FDC7-C1F8-8C0E60A0FE78}"/>
              </a:ext>
            </a:extLst>
          </p:cNvPr>
          <p:cNvSpPr txBox="1"/>
          <p:nvPr/>
        </p:nvSpPr>
        <p:spPr bwMode="auto">
          <a:xfrm>
            <a:off x="533400" y="1825624"/>
            <a:ext cx="5486400" cy="4422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Segoe UI Light"/>
                <a:cs typeface="Segoe UI Light"/>
              </a:rPr>
              <a:t>我们实现的</a:t>
            </a:r>
            <a:r>
              <a:rPr lang="en-US" altLang="zh-CN" sz="2800" dirty="0">
                <a:latin typeface="Segoe UI Light"/>
                <a:cs typeface="Segoe UI Light"/>
              </a:rPr>
              <a:t>MMU</a:t>
            </a:r>
            <a:r>
              <a:rPr lang="zh-CN" altLang="en-US" sz="2800" dirty="0">
                <a:latin typeface="Segoe UI Light"/>
                <a:cs typeface="Segoe UI Light"/>
              </a:rPr>
              <a:t>取得了非常好的效果。</a:t>
            </a:r>
            <a:endParaRPr lang="en-US" altLang="zh-CN" sz="2800" dirty="0">
              <a:latin typeface="Segoe UI Light"/>
              <a:cs typeface="Segoe UI Light"/>
            </a:endParaRP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Segoe UI Light"/>
                <a:cs typeface="Segoe UI Light"/>
              </a:rPr>
              <a:t>在快速排序等程序的测试下，命中率均在</a:t>
            </a:r>
            <a:r>
              <a:rPr lang="en-US" altLang="zh-CN" sz="2800" dirty="0">
                <a:latin typeface="Segoe UI Light"/>
                <a:cs typeface="Segoe UI Light"/>
              </a:rPr>
              <a:t>99.9%</a:t>
            </a:r>
            <a:r>
              <a:rPr lang="zh-CN" altLang="en-US" sz="2800" dirty="0">
                <a:latin typeface="Segoe UI Light"/>
                <a:cs typeface="Segoe UI Light"/>
              </a:rPr>
              <a:t>以上！</a:t>
            </a:r>
            <a:endParaRPr lang="en-US" altLang="zh-CN" sz="2800" dirty="0">
              <a:latin typeface="Segoe UI Light"/>
              <a:cs typeface="Segoe UI Light"/>
            </a:endParaRPr>
          </a:p>
        </p:txBody>
      </p:sp>
      <p:pic>
        <p:nvPicPr>
          <p:cNvPr id="3" name="图片 2" descr="文本&#10;&#10;描述已自动生成">
            <a:extLst>
              <a:ext uri="{FF2B5EF4-FFF2-40B4-BE49-F238E27FC236}">
                <a16:creationId xmlns:a16="http://schemas.microsoft.com/office/drawing/2014/main" id="{42F5E2C0-94C3-261D-B965-C30B1C395B6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447"/>
          <a:stretch/>
        </p:blipFill>
        <p:spPr>
          <a:xfrm>
            <a:off x="6912018" y="708355"/>
            <a:ext cx="4696694" cy="5441290"/>
          </a:xfrm>
          <a:prstGeom prst="rect">
            <a:avLst/>
          </a:prstGeom>
          <a:noFill/>
        </p:spPr>
      </p:pic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模拟结果</a:t>
            </a: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文本框 1">
                <a:extLst>
                  <a:ext uri="{FF2B5EF4-FFF2-40B4-BE49-F238E27FC236}">
                    <a16:creationId xmlns:a16="http://schemas.microsoft.com/office/drawing/2014/main" id="{5F377543-9A2A-FDC7-C1F8-8C0E60A0FE78}"/>
                  </a:ext>
                </a:extLst>
              </p:cNvPr>
              <p:cNvSpPr txBox="1"/>
              <p:nvPr/>
            </p:nvSpPr>
            <p:spPr bwMode="auto">
              <a:xfrm>
                <a:off x="1455985" y="2002652"/>
                <a:ext cx="4628801" cy="3731435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/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为了验证我们程序的有效性，我们还编写了其他的程序：</a:t>
                </a:r>
                <a:endParaRPr lang="en-US" altLang="zh-CN" sz="2352" dirty="0">
                  <a:solidFill>
                    <a:schemeClr val="tx1"/>
                  </a:solidFill>
                  <a:latin typeface="Segoe UI Light"/>
                  <a:ea typeface="+mn-ea"/>
                  <a:cs typeface="Segoe UI Light"/>
                </a:endParaRP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循环输出</a:t>
                </a:r>
                <a:r>
                  <a:rPr lang="en-US" altLang="zh-CN" sz="2352" i="1" dirty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Never </a:t>
                </a:r>
                <a:r>
                  <a:rPr lang="en-US" altLang="zh-CN" sz="2352" i="1" dirty="0" err="1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Gonna</a:t>
                </a:r>
                <a:r>
                  <a:rPr lang="en-US" altLang="zh-CN" sz="2352" i="1" dirty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 Give You Up</a:t>
                </a:r>
                <a:r>
                  <a:rPr lang="zh-CN" altLang="en-US" sz="2352" dirty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副歌</a:t>
                </a:r>
                <a:r>
                  <a:rPr lang="zh-CN" altLang="en-US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歌词的程序</a:t>
                </a:r>
                <a:r>
                  <a:rPr lang="en-US" altLang="zh-CN" sz="2352" dirty="0" err="1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TaskA</a:t>
                </a:r>
                <a:r>
                  <a:rPr lang="zh-CN" altLang="en-US" sz="2352" dirty="0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、</a:t>
                </a:r>
                <a:r>
                  <a:rPr lang="en-US" altLang="zh-CN" sz="2352" dirty="0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B</a:t>
                </a:r>
                <a:r>
                  <a:rPr lang="zh-CN" altLang="en-US" sz="2352" dirty="0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、</a:t>
                </a:r>
                <a:r>
                  <a:rPr lang="en-US" altLang="zh-CN" sz="2352" dirty="0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C</a:t>
                </a: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计算</a:t>
                </a:r>
                <a14:m>
                  <m:oMath xmlns:m="http://schemas.openxmlformats.org/officeDocument/2006/math">
                    <m:r>
                      <a:rPr lang="el-GR" altLang="zh-CN" sz="2352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𝜋</m:t>
                    </m:r>
                    <m:r>
                      <a:rPr lang="zh-CN" altLang="en-US" sz="2352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的</m:t>
                    </m:r>
                  </m:oMath>
                </a14:m>
                <a:r>
                  <a:rPr lang="zh-CN" altLang="en-US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前</a:t>
                </a:r>
                <a:r>
                  <a:rPr lang="en-US" altLang="zh-CN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10,000</a:t>
                </a:r>
                <a:r>
                  <a:rPr lang="zh-CN" altLang="en-US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位的程</a:t>
                </a:r>
                <a:r>
                  <a:rPr lang="zh-CN" altLang="en-US" sz="2352" dirty="0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序</a:t>
                </a:r>
                <a:r>
                  <a:rPr lang="en-US" altLang="zh-CN" sz="2352" dirty="0" err="1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TaskD</a:t>
                </a:r>
                <a:endParaRPr lang="en-US" altLang="zh-CN" sz="2800" dirty="0">
                  <a:latin typeface="Consolas" panose="020B0609020204030204" pitchFamily="49" charset="0"/>
                  <a:cs typeface="Segoe UI Light"/>
                </a:endParaRPr>
              </a:p>
            </p:txBody>
          </p:sp>
        </mc:Choice>
        <mc:Fallback xmlns="">
          <p:sp>
            <p:nvSpPr>
              <p:cNvPr id="2" name="文本框 1">
                <a:extLst>
                  <a:ext uri="{FF2B5EF4-FFF2-40B4-BE49-F238E27FC236}">
                    <a16:creationId xmlns:a16="http://schemas.microsoft.com/office/drawing/2014/main" id="{5F377543-9A2A-FDC7-C1F8-8C0E60A0FE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455985" y="2002652"/>
                <a:ext cx="4628801" cy="3731435"/>
              </a:xfrm>
              <a:prstGeom prst="rect">
                <a:avLst/>
              </a:prstGeom>
              <a:blipFill>
                <a:blip r:embed="rId3"/>
                <a:stretch>
                  <a:fillRect l="-1713" t="-2288" r="-10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图片 4" descr="图形用户界面, 文本, 应用程序&#10;&#10;描述已自动生成">
            <a:extLst>
              <a:ext uri="{FF2B5EF4-FFF2-40B4-BE49-F238E27FC236}">
                <a16:creationId xmlns:a16="http://schemas.microsoft.com/office/drawing/2014/main" id="{E554B268-A0BB-1797-6589-7ED77821E5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7756" y="1825624"/>
            <a:ext cx="4508259" cy="787539"/>
          </a:xfrm>
          <a:prstGeom prst="rect">
            <a:avLst/>
          </a:prstGeom>
        </p:spPr>
      </p:pic>
      <p:pic>
        <p:nvPicPr>
          <p:cNvPr id="7" name="图片 6" descr="文本&#10;&#10;描述已自动生成">
            <a:extLst>
              <a:ext uri="{FF2B5EF4-FFF2-40B4-BE49-F238E27FC236}">
                <a16:creationId xmlns:a16="http://schemas.microsoft.com/office/drawing/2014/main" id="{CB0855F5-7BDB-734A-23AB-F429409FA3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2154" y="2747946"/>
            <a:ext cx="3186572" cy="3500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57609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alt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：模拟结果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5F377543-9A2A-FDC7-C1F8-8C0E60A0FE78}"/>
              </a:ext>
            </a:extLst>
          </p:cNvPr>
          <p:cNvSpPr txBox="1"/>
          <p:nvPr/>
        </p:nvSpPr>
        <p:spPr bwMode="auto">
          <a:xfrm>
            <a:off x="702859" y="3429000"/>
            <a:ext cx="4628801" cy="3731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Consolas" panose="020B0609020204030204" pitchFamily="49" charset="0"/>
                <a:cs typeface="Segoe UI Light"/>
              </a:rPr>
              <a:t>命中率依然“遥遥领先”！</a:t>
            </a:r>
            <a:endParaRPr lang="en-US" altLang="zh-CN" sz="2800" dirty="0">
              <a:latin typeface="Consolas" panose="020B0609020204030204" pitchFamily="49" charset="0"/>
              <a:cs typeface="Segoe UI Light"/>
            </a:endParaRPr>
          </a:p>
        </p:txBody>
      </p:sp>
      <p:pic>
        <p:nvPicPr>
          <p:cNvPr id="4" name="图片 3" descr="文本&#10;&#10;描述已自动生成">
            <a:extLst>
              <a:ext uri="{FF2B5EF4-FFF2-40B4-BE49-F238E27FC236}">
                <a16:creationId xmlns:a16="http://schemas.microsoft.com/office/drawing/2014/main" id="{FC54DEF0-5CD9-F5DF-16F6-AB0B847BE7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355"/>
          <a:stretch/>
        </p:blipFill>
        <p:spPr>
          <a:xfrm>
            <a:off x="6374330" y="688697"/>
            <a:ext cx="5284270" cy="576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6564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 dirty="0"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是最主流的嵌入式操作系统之一，在全球范围内被广泛采用，拥有庞大的社区支持和活跃的生态系统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功能丰富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代码质量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代码精简、可读性强，易于移植到各种嵌入式平台，对开发者友好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版权“友好”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许可证商业友好，允许商业应用和修改，没有版权的后顾之忧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16958" y="3152001"/>
            <a:ext cx="3758083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4000" dirty="0">
                <a:solidFill>
                  <a:schemeClr val="bg1"/>
                </a:solidFill>
                <a:latin typeface="Segoe UI"/>
                <a:cs typeface="Segoe UI"/>
              </a:rPr>
              <a:t>交叉编译与上板</a:t>
            </a:r>
            <a:endParaRPr sz="3600" dirty="0"/>
          </a:p>
        </p:txBody>
      </p:sp>
    </p:spTree>
    <p:extLst>
      <p:ext uri="{BB962C8B-B14F-4D97-AF65-F5344CB8AC3E}">
        <p14:creationId xmlns:p14="http://schemas.microsoft.com/office/powerpoint/2010/main" val="397634849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(bindgen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方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)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4B5E5138-A026-1533-B84F-CDB43EC91014}"/>
              </a:ext>
            </a:extLst>
          </p:cNvPr>
          <p:cNvSpPr txBox="1"/>
          <p:nvPr/>
        </p:nvSpPr>
        <p:spPr bwMode="auto">
          <a:xfrm>
            <a:off x="700124" y="1952624"/>
            <a:ext cx="6646189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用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wrapper.c</a:t>
            </a:r>
            <a:r>
              <a:rPr sz="24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include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所有头文件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。</a:t>
            </a:r>
          </a:p>
          <a:p>
            <a:pPr marL="283879" indent="-283879">
              <a:buFont typeface="Arial"/>
              <a:buChar char="•"/>
              <a:defRPr/>
            </a:pP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再对这一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c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文件进行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gen，可以得到干净的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bind.rs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（不会生成调用的库函数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）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E9980B9-37F5-4B8C-884E-8E19F6936D19}"/>
              </a:ext>
            </a:extLst>
          </p:cNvPr>
          <p:cNvSpPr txBox="1"/>
          <p:nvPr/>
        </p:nvSpPr>
        <p:spPr bwMode="auto">
          <a:xfrm>
            <a:off x="714963" y="1599849"/>
            <a:ext cx="5664817" cy="301024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还有一点问题</a:t>
            </a:r>
            <a:r>
              <a:rPr lang="en-US" altLang="zh-CN" sz="2400" dirty="0">
                <a:latin typeface="等线 Light"/>
                <a:ea typeface="等线 Light"/>
              </a:rPr>
              <a:t>……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en-US" altLang="zh-CN" sz="2400" dirty="0">
                <a:latin typeface="等线 Light"/>
                <a:ea typeface="等线 Light"/>
              </a:rPr>
              <a:t>C </a:t>
            </a:r>
            <a:r>
              <a:rPr lang="zh-CN" altLang="en-US" sz="2400" dirty="0">
                <a:latin typeface="等线 Light"/>
                <a:ea typeface="等线 Light"/>
              </a:rPr>
              <a:t>代码中部分函数以宏的形式定义，</a:t>
            </a:r>
            <a:r>
              <a:rPr lang="en-US" altLang="zh-CN" sz="2400" dirty="0" err="1">
                <a:latin typeface="等线 Light"/>
                <a:ea typeface="等线 Light"/>
              </a:rPr>
              <a:t>bindgen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无法识别这些函数，如右图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en-US" altLang="zh-CN" sz="2400" dirty="0">
                <a:latin typeface="等线 Light"/>
                <a:ea typeface="等线 Light"/>
              </a:rPr>
              <a:t>Rust </a:t>
            </a:r>
            <a:r>
              <a:rPr lang="zh-CN" altLang="en-US" sz="2400" dirty="0">
                <a:latin typeface="等线 Light"/>
                <a:ea typeface="等线 Light"/>
              </a:rPr>
              <a:t>程序中要调用此类函数则会报错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endParaRPr lang="en-US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解决方案：将需要被调用的宏改写为函数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B248F04-707E-4CED-A4B6-E43C32ED28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525" y="1599849"/>
            <a:ext cx="5560490" cy="225497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AC49E35-F37C-4AF0-9E5D-F1791487FD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7372" y="4722449"/>
            <a:ext cx="6051176" cy="236374"/>
          </a:xfrm>
          <a:prstGeom prst="rect">
            <a:avLst/>
          </a:prstGeom>
        </p:spPr>
      </p:pic>
      <p:sp>
        <p:nvSpPr>
          <p:cNvPr id="9" name="Arrow: Down 8">
            <a:extLst>
              <a:ext uri="{FF2B5EF4-FFF2-40B4-BE49-F238E27FC236}">
                <a16:creationId xmlns:a16="http://schemas.microsoft.com/office/drawing/2014/main" id="{562530E5-ED3E-49A9-9065-CA58E0DC7DCF}"/>
              </a:ext>
            </a:extLst>
          </p:cNvPr>
          <p:cNvSpPr/>
          <p:nvPr/>
        </p:nvSpPr>
        <p:spPr>
          <a:xfrm>
            <a:off x="6286089" y="5089550"/>
            <a:ext cx="286871" cy="65411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50E9CF7-9E83-46D3-845C-5723424025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8808" y="5870345"/>
            <a:ext cx="5421434" cy="880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20328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链接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714964" y="2801121"/>
            <a:ext cx="6143036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为了在不同的架构下运行，需要使用专门的编译器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aarch64-none-elf-gcc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进行链接以生成可作为内核的 </a:t>
            </a:r>
            <a:r>
              <a:rPr lang="en-US" altLang="zh-CN" sz="2400" dirty="0">
                <a:latin typeface="等线 Light"/>
                <a:ea typeface="等线 Light"/>
              </a:rPr>
              <a:t>elf </a:t>
            </a:r>
            <a:r>
              <a:rPr lang="zh-CN" altLang="en-US" sz="2400" dirty="0">
                <a:latin typeface="等线 Light"/>
                <a:ea typeface="等线 Light"/>
              </a:rPr>
              <a:t>文件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EA279A4-44E8-4BCB-9ACC-D790238E4F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7976" y="1671566"/>
            <a:ext cx="4140886" cy="650105"/>
          </a:xfrm>
          <a:prstGeom prst="rect">
            <a:avLst/>
          </a:prstGeom>
        </p:spPr>
      </p:pic>
      <p:sp>
        <p:nvSpPr>
          <p:cNvPr id="6" name="文本框 2">
            <a:extLst>
              <a:ext uri="{FF2B5EF4-FFF2-40B4-BE49-F238E27FC236}">
                <a16:creationId xmlns:a16="http://schemas.microsoft.com/office/drawing/2014/main" id="{26B4AD7B-ADAF-4369-BBE5-FCD42151BCD8}"/>
              </a:ext>
            </a:extLst>
          </p:cNvPr>
          <p:cNvSpPr txBox="1"/>
          <p:nvPr/>
        </p:nvSpPr>
        <p:spPr bwMode="auto">
          <a:xfrm>
            <a:off x="7134395" y="2295931"/>
            <a:ext cx="4108048" cy="40504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algn="ctr">
              <a:defRPr/>
            </a:pPr>
            <a:r>
              <a:rPr lang="en-US" altLang="zh-CN" i="1" dirty="0">
                <a:latin typeface="等线 Light"/>
                <a:ea typeface="等线 Light"/>
              </a:rPr>
              <a:t>Cargo </a:t>
            </a:r>
            <a:r>
              <a:rPr lang="zh-CN" altLang="en-US" i="1" dirty="0">
                <a:latin typeface="等线 Light"/>
                <a:ea typeface="等线 Light"/>
              </a:rPr>
              <a:t>配置文件  </a:t>
            </a:r>
            <a:r>
              <a:rPr lang="en-US" altLang="zh-CN" i="1" dirty="0">
                <a:latin typeface="Consolas" panose="020B0609020204030204" pitchFamily="49" charset="0"/>
                <a:ea typeface="等线 Light"/>
              </a:rPr>
              <a:t>~/.cargo/config</a:t>
            </a:r>
            <a:endParaRPr lang="en-US" i="1" dirty="0">
              <a:latin typeface="Consolas" panose="020B0609020204030204" pitchFamily="49" charset="0"/>
              <a:ea typeface="等线 Ligh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890329-2954-4A15-A807-E27E6EB395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0267" y="2801121"/>
            <a:ext cx="3109143" cy="3470417"/>
          </a:xfrm>
          <a:prstGeom prst="rect">
            <a:avLst/>
          </a:prstGeom>
        </p:spPr>
      </p:pic>
      <p:sp>
        <p:nvSpPr>
          <p:cNvPr id="9" name="文本框 2">
            <a:extLst>
              <a:ext uri="{FF2B5EF4-FFF2-40B4-BE49-F238E27FC236}">
                <a16:creationId xmlns:a16="http://schemas.microsoft.com/office/drawing/2014/main" id="{F51E98DB-DCB0-41D6-B123-DE33DBCBD4C8}"/>
              </a:ext>
            </a:extLst>
          </p:cNvPr>
          <p:cNvSpPr txBox="1"/>
          <p:nvPr/>
        </p:nvSpPr>
        <p:spPr bwMode="auto">
          <a:xfrm>
            <a:off x="7150814" y="6237023"/>
            <a:ext cx="4108048" cy="40504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algn="ctr">
              <a:defRPr/>
            </a:pPr>
            <a:r>
              <a:rPr lang="zh-CN" altLang="en-US" i="1" dirty="0">
                <a:latin typeface="等线 Light"/>
                <a:ea typeface="等线 Light"/>
              </a:rPr>
              <a:t>编译配置文件  </a:t>
            </a:r>
            <a:r>
              <a:rPr lang="en-US" altLang="zh-CN" i="1" dirty="0">
                <a:latin typeface="Consolas" panose="020B0609020204030204" pitchFamily="49" charset="0"/>
                <a:ea typeface="等线 Light"/>
              </a:rPr>
              <a:t>build.rs</a:t>
            </a:r>
            <a:endParaRPr lang="en-US" i="1" dirty="0">
              <a:latin typeface="Consolas" panose="020B0609020204030204" pitchFamily="49" charset="0"/>
              <a:ea typeface="等线 Light"/>
            </a:endParaRPr>
          </a:p>
        </p:txBody>
      </p:sp>
    </p:spTree>
    <p:extLst>
      <p:ext uri="{BB962C8B-B14F-4D97-AF65-F5344CB8AC3E}">
        <p14:creationId xmlns:p14="http://schemas.microsoft.com/office/powerpoint/2010/main" val="151840409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2024243"/>
            <a:ext cx="11172236" cy="3314241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编译成功后生成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build/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FreeRTOS.elf</a:t>
            </a:r>
            <a:endParaRPr lang="en-US" altLang="zh-CN" sz="2400" dirty="0">
              <a:latin typeface="Consolas" panose="020B0609020204030204" pitchFamily="49" charset="0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编写运行脚本使用 </a:t>
            </a:r>
            <a:r>
              <a:rPr lang="en-US" altLang="zh-CN" sz="2400" dirty="0">
                <a:latin typeface="等线 Light"/>
                <a:ea typeface="等线 Light"/>
              </a:rPr>
              <a:t>QEMU </a:t>
            </a:r>
            <a:r>
              <a:rPr lang="zh-CN" altLang="en-US" sz="2400" dirty="0">
                <a:latin typeface="等线 Light"/>
                <a:ea typeface="等线 Light"/>
              </a:rPr>
              <a:t>运行：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807165" lvl="1" indent="-349965">
              <a:buFont typeface="Arial"/>
              <a:buChar char="•"/>
              <a:defRPr/>
            </a:pPr>
            <a:r>
              <a:rPr lang="en-US" altLang="zh-CN" sz="2400" b="0" dirty="0">
                <a:solidFill>
                  <a:srgbClr val="61AFEF"/>
                </a:solidFill>
                <a:effectLst/>
                <a:latin typeface="Consolig" panose="020B0609020204030204" pitchFamily="49" charset="0"/>
              </a:rPr>
              <a:t>qemu-system-aarch64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raspi3b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1024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nul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mon:stdio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</a:t>
            </a:r>
            <a:r>
              <a:rPr lang="en-US" altLang="zh-CN" sz="2400" b="0" dirty="0" err="1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nographic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kerne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build/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FreeRTOS.elf</a:t>
            </a:r>
            <a:endParaRPr lang="en-US" altLang="zh-CN" sz="2400" b="0" dirty="0">
              <a:solidFill>
                <a:srgbClr val="ABB2BF"/>
              </a:solidFill>
              <a:effectLst/>
              <a:latin typeface="Consolig" panose="020B0609020204030204" pitchFamily="49" charset="0"/>
            </a:endParaRPr>
          </a:p>
          <a:p>
            <a:pPr marL="349965" indent="-349965">
              <a:buFont typeface="Arial"/>
              <a:buChar char="•"/>
              <a:defRPr/>
            </a:pPr>
            <a:endParaRPr lang="en-US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endParaRPr lang="en-US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由于运行过程中出现 </a:t>
            </a:r>
            <a:r>
              <a:rPr lang="en-US" altLang="zh-CN" sz="2400" dirty="0">
                <a:latin typeface="等线 Light"/>
                <a:ea typeface="等线 Light"/>
              </a:rPr>
              <a:t>panic </a:t>
            </a:r>
            <a:r>
              <a:rPr lang="zh-CN" altLang="en-US" sz="2400" dirty="0">
                <a:latin typeface="等线 Light"/>
                <a:ea typeface="等线 Light"/>
              </a:rPr>
              <a:t>会导致宕机，且难以使用输出中间值的方式进行调试，为了定位错误出现的位置，需要使用 </a:t>
            </a:r>
            <a:r>
              <a:rPr lang="en-US" altLang="zh-CN" sz="2400" dirty="0" err="1">
                <a:latin typeface="等线 Light"/>
                <a:ea typeface="等线 Light"/>
              </a:rPr>
              <a:t>gdb-multiarch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调试工具。</a:t>
            </a:r>
            <a:endParaRPr lang="en-US" sz="2400" dirty="0">
              <a:latin typeface="等线 Light"/>
              <a:ea typeface="等线 Light"/>
            </a:endParaRPr>
          </a:p>
        </p:txBody>
      </p:sp>
    </p:spTree>
    <p:extLst>
      <p:ext uri="{BB962C8B-B14F-4D97-AF65-F5344CB8AC3E}">
        <p14:creationId xmlns:p14="http://schemas.microsoft.com/office/powerpoint/2010/main" val="333720913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2024243"/>
            <a:ext cx="11172236" cy="2480551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首先在使用调试模式运行 </a:t>
            </a:r>
            <a:r>
              <a:rPr lang="en-US" altLang="zh-CN" sz="2400" dirty="0">
                <a:latin typeface="等线 Light"/>
                <a:ea typeface="等线 Light"/>
              </a:rPr>
              <a:t>QEMU</a:t>
            </a:r>
            <a:r>
              <a:rPr lang="zh-CN" altLang="en-US" sz="2400" dirty="0">
                <a:latin typeface="等线 Light"/>
                <a:ea typeface="等线 Light"/>
              </a:rPr>
              <a:t>：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807165" lvl="1" indent="-349965">
              <a:buFont typeface="Arial"/>
              <a:buChar char="•"/>
              <a:defRPr/>
            </a:pPr>
            <a:r>
              <a:rPr lang="en-US" altLang="zh-CN" sz="2400" b="0" dirty="0">
                <a:solidFill>
                  <a:srgbClr val="61AFEF"/>
                </a:solidFill>
                <a:effectLst/>
                <a:latin typeface="Consolig" panose="020B0609020204030204" pitchFamily="49" charset="0"/>
              </a:rPr>
              <a:t>qemu-system-aarch64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raspi3b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1024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nul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mon:stdio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</a:t>
            </a:r>
            <a:r>
              <a:rPr lang="en-US" altLang="zh-CN" sz="2400" b="0" dirty="0" err="1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nographic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kerne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build/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FreeRTOS.elf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1" dirty="0">
                <a:solidFill>
                  <a:srgbClr val="98C379"/>
                </a:solidFill>
                <a:effectLst/>
                <a:highlight>
                  <a:srgbClr val="FFFF00"/>
                </a:highlight>
                <a:latin typeface="Consolig" panose="020B0609020204030204" pitchFamily="49" charset="0"/>
              </a:rPr>
              <a:t>–</a:t>
            </a:r>
            <a:r>
              <a:rPr lang="en-US" altLang="zh-CN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ig" panose="020B0609020204030204" pitchFamily="49" charset="0"/>
              </a:rPr>
              <a:t>s</a:t>
            </a:r>
            <a:r>
              <a:rPr lang="zh-CN" altLang="en-US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ig" panose="020B0609020204030204" pitchFamily="49" charset="0"/>
              </a:rPr>
              <a:t> </a:t>
            </a:r>
            <a:r>
              <a:rPr lang="en-US" altLang="zh-CN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ig" panose="020B0609020204030204" pitchFamily="49" charset="0"/>
              </a:rPr>
              <a:t>–S</a:t>
            </a:r>
            <a:endParaRPr lang="en-US" altLang="zh-CN" sz="2400" b="1" dirty="0">
              <a:solidFill>
                <a:srgbClr val="ABB2BF"/>
              </a:solidFill>
              <a:effectLst/>
              <a:highlight>
                <a:srgbClr val="FFFF00"/>
              </a:highlight>
              <a:latin typeface="Consolig" panose="020B0609020204030204" pitchFamily="49" charset="0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此时 </a:t>
            </a:r>
            <a:r>
              <a:rPr lang="en-US" altLang="zh-CN" sz="2400" dirty="0">
                <a:latin typeface="等线 Light"/>
                <a:ea typeface="等线 Light"/>
              </a:rPr>
              <a:t>QEMU </a:t>
            </a:r>
            <a:r>
              <a:rPr lang="zh-CN" altLang="en-US" sz="2400" dirty="0">
                <a:latin typeface="等线 Light"/>
                <a:ea typeface="等线 Light"/>
              </a:rPr>
              <a:t>会打开端口 </a:t>
            </a:r>
            <a:r>
              <a:rPr lang="en-US" altLang="zh-CN" sz="2400" dirty="0">
                <a:latin typeface="等线 Light"/>
                <a:ea typeface="等线 Light"/>
              </a:rPr>
              <a:t>1234 </a:t>
            </a:r>
            <a:r>
              <a:rPr lang="zh-CN" altLang="en-US" sz="2400" dirty="0">
                <a:latin typeface="等线 Light"/>
                <a:ea typeface="等线 Light"/>
              </a:rPr>
              <a:t>供调试工具访问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运行 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gdb-multiarch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 build/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FreeRTOS.elf</a:t>
            </a:r>
            <a:r>
              <a:rPr lang="zh-CN" altLang="en-US" sz="2400" dirty="0">
                <a:latin typeface="等线 Light"/>
                <a:ea typeface="等线 Light"/>
              </a:rPr>
              <a:t>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输入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target remote:1234 </a:t>
            </a:r>
            <a:r>
              <a:rPr lang="zh-CN" altLang="en-US" sz="2400" dirty="0">
                <a:latin typeface="等线 Light"/>
                <a:ea typeface="等线 Light"/>
              </a:rPr>
              <a:t>即可启动调试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D9D0F55-541E-4DDF-8B29-C752323C99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3954" y="4723001"/>
            <a:ext cx="6144088" cy="1476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33240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1789979"/>
            <a:ext cx="4411607" cy="384393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输入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s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加步数可以执行指定的步长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例如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s 100 </a:t>
            </a:r>
            <a:r>
              <a:rPr lang="zh-CN" altLang="en-US" sz="2400" dirty="0">
                <a:latin typeface="等线 Light"/>
                <a:ea typeface="等线 Light"/>
              </a:rPr>
              <a:t>可以往后运行 </a:t>
            </a:r>
            <a:r>
              <a:rPr lang="en-US" altLang="zh-CN" sz="2400" dirty="0">
                <a:latin typeface="等线 Light"/>
                <a:ea typeface="等线 Light"/>
              </a:rPr>
              <a:t>100 </a:t>
            </a:r>
            <a:r>
              <a:rPr lang="zh-CN" altLang="en-US" sz="2400" dirty="0">
                <a:latin typeface="等线 Light"/>
                <a:ea typeface="等线 Light"/>
              </a:rPr>
              <a:t>步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以此可以找到宕机的位置，从而进一步在宕机的位置附近找到导致宕机的代码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最后根据这些信息对导致宕机的代码进行修改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DCCD34-2DD6-44AE-82D7-49D20FD629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487" y="1900517"/>
            <a:ext cx="6432311" cy="3622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37787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644F3C-3971-B246-A508-6DEAE3788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644F3C-3971-B246-A508-6DEAE3788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FC832B-262B-0045-9A84-CB48A3F0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6B03E70-A7B4-C941-91C0-B005DFA99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098" r="11590"/>
          <a:stretch>
            <a:fillRect/>
          </a:stretch>
        </p:blipFill>
        <p:spPr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DE12DAF-15F0-8345-86E8-9609C6236D69}"/>
              </a:ext>
            </a:extLst>
          </p:cNvPr>
          <p:cNvSpPr/>
          <p:nvPr/>
        </p:nvSpPr>
        <p:spPr>
          <a:xfrm>
            <a:off x="5061912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D02E6FB-4036-3246-95E3-D2C9EDFC0C50}"/>
              </a:ext>
            </a:extLst>
          </p:cNvPr>
          <p:cNvSpPr/>
          <p:nvPr/>
        </p:nvSpPr>
        <p:spPr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9F0E56-B602-C54F-9D19-077D7956E697}"/>
              </a:ext>
            </a:extLst>
          </p:cNvPr>
          <p:cNvSpPr/>
          <p:nvPr/>
        </p:nvSpPr>
        <p:spPr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B182E3-0CE6-B948-8C59-7C39E524A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09" y="2290552"/>
            <a:ext cx="3342684" cy="1218795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br>
              <a:rPr lang="en-US" altLang="zh-CN" sz="4000" dirty="0">
                <a:solidFill>
                  <a:schemeClr val="bg1"/>
                </a:solidFill>
              </a:rPr>
            </a:br>
            <a:r>
              <a:rPr lang="en-US" altLang="zh-CN" sz="2400" dirty="0">
                <a:solidFill>
                  <a:schemeClr val="bg1"/>
                </a:solidFill>
              </a:rPr>
              <a:t>——</a:t>
            </a:r>
            <a:r>
              <a:rPr lang="zh-CN" altLang="en-US" sz="2400" dirty="0">
                <a:solidFill>
                  <a:schemeClr val="bg1"/>
                </a:solidFill>
              </a:rPr>
              <a:t>用 </a:t>
            </a:r>
            <a:r>
              <a:rPr lang="en-US" altLang="zh-CN" sz="2400" dirty="0">
                <a:solidFill>
                  <a:schemeClr val="bg1"/>
                </a:solidFill>
              </a:rPr>
              <a:t>Rust </a:t>
            </a:r>
            <a:r>
              <a:rPr lang="zh-CN" altLang="en-US" sz="2400" dirty="0">
                <a:solidFill>
                  <a:schemeClr val="bg1"/>
                </a:solidFill>
              </a:rPr>
              <a:t>改写 </a:t>
            </a:r>
            <a:r>
              <a:rPr lang="en-US" altLang="zh-CN" sz="2400" dirty="0" err="1">
                <a:solidFill>
                  <a:schemeClr val="bg1"/>
                </a:solidFill>
              </a:rPr>
              <a:t>FreeRTOS</a:t>
            </a:r>
            <a:r>
              <a:rPr lang="en-US" altLang="zh-CN" sz="2400" dirty="0">
                <a:solidFill>
                  <a:schemeClr val="bg1"/>
                </a:solidFill>
              </a:rPr>
              <a:t> </a:t>
            </a:r>
            <a:r>
              <a:rPr lang="zh-CN" altLang="en-US" sz="2400" dirty="0">
                <a:solidFill>
                  <a:schemeClr val="bg1"/>
                </a:solidFill>
              </a:rPr>
              <a:t>并支持 </a:t>
            </a:r>
            <a:r>
              <a:rPr lang="en-US" altLang="zh-CN" sz="2400" dirty="0">
                <a:solidFill>
                  <a:schemeClr val="bg1"/>
                </a:solidFill>
              </a:rPr>
              <a:t>MMU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B1AFD5A-A0A3-9B4B-8910-16FE1C651A58}"/>
              </a:ext>
            </a:extLst>
          </p:cNvPr>
          <p:cNvSpPr/>
          <p:nvPr/>
        </p:nvSpPr>
        <p:spPr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0BE93C-11C0-4A47-B60C-5F4944A295A9}"/>
              </a:ext>
            </a:extLst>
          </p:cNvPr>
          <p:cNvSpPr txBox="1">
            <a:spLocks/>
          </p:cNvSpPr>
          <p:nvPr/>
        </p:nvSpPr>
        <p:spPr>
          <a:xfrm>
            <a:off x="970009" y="3958050"/>
            <a:ext cx="2727296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选择 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和并发优势</a:t>
            </a:r>
            <a:endParaRPr lang="en-US" altLang="zh-CN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添加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增强内存管理和安全性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2A98D8-E0E1-9B45-AC15-21488115704F}"/>
              </a:ext>
            </a:extLst>
          </p:cNvPr>
          <p:cNvCxnSpPr>
            <a:cxnSpLocks/>
          </p:cNvCxnSpPr>
          <p:nvPr/>
        </p:nvCxnSpPr>
        <p:spPr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AEEB8D4-22DD-6446-B6C7-FCBFFA88D589}"/>
              </a:ext>
            </a:extLst>
          </p:cNvPr>
          <p:cNvSpPr/>
          <p:nvPr/>
        </p:nvSpPr>
        <p:spPr>
          <a:xfrm>
            <a:off x="7345124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DC272A5-C260-9A46-B74D-43FB2EE956C9}"/>
              </a:ext>
            </a:extLst>
          </p:cNvPr>
          <p:cNvSpPr/>
          <p:nvPr/>
        </p:nvSpPr>
        <p:spPr>
          <a:xfrm>
            <a:off x="9628336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431F6F-E608-9243-A506-DD02644F460F}"/>
              </a:ext>
            </a:extLst>
          </p:cNvPr>
          <p:cNvSpPr/>
          <p:nvPr/>
        </p:nvSpPr>
        <p:spPr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7B78A43-516E-E44E-9589-344FC3D26E35}"/>
              </a:ext>
            </a:extLst>
          </p:cNvPr>
          <p:cNvSpPr txBox="1">
            <a:spLocks/>
          </p:cNvSpPr>
          <p:nvPr/>
        </p:nvSpPr>
        <p:spPr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权机制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E4CC1E5-EB9C-4441-99F6-B33F83468C8C}"/>
              </a:ext>
            </a:extLst>
          </p:cNvPr>
          <p:cNvSpPr txBox="1">
            <a:spLocks/>
          </p:cNvSpPr>
          <p:nvPr/>
        </p:nvSpPr>
        <p:spPr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确保了内存安全，防止了缓冲区溢出、越界访问等常见的内存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仔细思考内存的使用和分配，防止代码中出现未预料到的更改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从而影响代码的正确性和安全性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E2774FE-0088-DB4C-8985-D04E85814181}"/>
              </a:ext>
            </a:extLst>
          </p:cNvPr>
          <p:cNvSpPr/>
          <p:nvPr/>
        </p:nvSpPr>
        <p:spPr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E9E1B07-CFB2-CB44-AA40-B262B6266BA0}"/>
              </a:ext>
            </a:extLst>
          </p:cNvPr>
          <p:cNvSpPr/>
          <p:nvPr/>
        </p:nvSpPr>
        <p:spPr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D74CB8D0-7735-A741-A252-FD08F94DBAAA}"/>
              </a:ext>
            </a:extLst>
          </p:cNvPr>
          <p:cNvSpPr txBox="1">
            <a:spLocks/>
          </p:cNvSpPr>
          <p:nvPr/>
        </p:nvSpPr>
        <p:spPr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周期管理与借用规则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3436D069-1AB9-6F40-8997-EC30507B6AED}"/>
              </a:ext>
            </a:extLst>
          </p:cNvPr>
          <p:cNvSpPr txBox="1">
            <a:spLocks/>
          </p:cNvSpPr>
          <p:nvPr/>
        </p:nvSpPr>
        <p:spPr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生命周期管理功能和借用规则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考虑数据的有效期和访问权限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升代码的安全性，增强软件的可维护性和可读性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97A1025-BFA9-D44F-B8B4-07C05BBB38C2}"/>
              </a:ext>
            </a:extLst>
          </p:cNvPr>
          <p:cNvSpPr/>
          <p:nvPr/>
        </p:nvSpPr>
        <p:spPr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394E852-4291-E145-B46F-A9228A724827}"/>
              </a:ext>
            </a:extLst>
          </p:cNvPr>
          <p:cNvSpPr/>
          <p:nvPr/>
        </p:nvSpPr>
        <p:spPr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B8D0D9-E517-A842-BB02-2F4AC4C6E358}"/>
              </a:ext>
            </a:extLst>
          </p:cNvPr>
          <p:cNvSpPr txBox="1">
            <a:spLocks/>
          </p:cNvSpPr>
          <p:nvPr/>
        </p:nvSpPr>
        <p:spPr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安全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借用检查器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02656AB-C83F-5543-B87E-A8F37FB616DA}"/>
              </a:ext>
            </a:extLst>
          </p:cNvPr>
          <p:cNvSpPr txBox="1">
            <a:spLocks/>
          </p:cNvSpPr>
          <p:nvPr/>
        </p:nvSpPr>
        <p:spPr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借用检查器保证了代码的类型安全，能够在编译时期就发现潜在的类型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严格遵守类型规则，确保数据类型的正确匹配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避免程序在运行时期的类型错误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7A7660-AE03-6A49-AD3A-5AA418A3EB6D}"/>
              </a:ext>
            </a:extLst>
          </p:cNvPr>
          <p:cNvGrpSpPr/>
          <p:nvPr/>
        </p:nvGrpSpPr>
        <p:grpSpPr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0A34E97-3578-0C4D-ABD9-4E460E48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E665ABD-45D1-8444-A8F8-7A2112A34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1AB8F87-4067-5148-A037-D7BCA7391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958D78E-4B63-4D4F-975D-B807279FD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2B492E-BC9D-C147-94AA-B9F1FC26C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8A95A88-A31D-5F4B-85BF-7C60C650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64">
              <a:extLst>
                <a:ext uri="{FF2B5EF4-FFF2-40B4-BE49-F238E27FC236}">
                  <a16:creationId xmlns:a16="http://schemas.microsoft.com/office/drawing/2014/main" id="{417393A0-83E2-4245-9E9B-6D52BE12E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505200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65">
              <a:extLst>
                <a:ext uri="{FF2B5EF4-FFF2-40B4-BE49-F238E27FC236}">
                  <a16:creationId xmlns:a16="http://schemas.microsoft.com/office/drawing/2014/main" id="{23A25A64-73D8-EA47-AA3B-F6F608194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D924C0-122A-0E45-8036-4273F3BBD86E}"/>
              </a:ext>
            </a:extLst>
          </p:cNvPr>
          <p:cNvGrpSpPr/>
          <p:nvPr/>
        </p:nvGrpSpPr>
        <p:grpSpPr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4CAB9CC5-0C85-3241-8326-2D8B9F55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305">
              <a:extLst>
                <a:ext uri="{FF2B5EF4-FFF2-40B4-BE49-F238E27FC236}">
                  <a16:creationId xmlns:a16="http://schemas.microsoft.com/office/drawing/2014/main" id="{4DB02C82-4572-7E48-8981-B874E810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B8D029-6221-F14D-94AE-1452767722B4}"/>
              </a:ext>
            </a:extLst>
          </p:cNvPr>
          <p:cNvGrpSpPr/>
          <p:nvPr/>
        </p:nvGrpSpPr>
        <p:grpSpPr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>
              <a:extLst>
                <a:ext uri="{FF2B5EF4-FFF2-40B4-BE49-F238E27FC236}">
                  <a16:creationId xmlns:a16="http://schemas.microsoft.com/office/drawing/2014/main" id="{02EB53F3-8D78-3547-B06E-666E2A3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5">
              <a:extLst>
                <a:ext uri="{FF2B5EF4-FFF2-40B4-BE49-F238E27FC236}">
                  <a16:creationId xmlns:a16="http://schemas.microsoft.com/office/drawing/2014/main" id="{9CFC3101-26A4-A64C-9038-AF2E2BFB6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1B4ACD-EBCD-C34B-A147-26104599BFE7}"/>
              </a:ext>
            </a:extLst>
          </p:cNvPr>
          <p:cNvGrpSpPr/>
          <p:nvPr/>
        </p:nvGrpSpPr>
        <p:grpSpPr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>
              <a:extLst>
                <a:ext uri="{FF2B5EF4-FFF2-40B4-BE49-F238E27FC236}">
                  <a16:creationId xmlns:a16="http://schemas.microsoft.com/office/drawing/2014/main" id="{065056F7-572F-8A40-9C06-1E39E1DC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05">
              <a:extLst>
                <a:ext uri="{FF2B5EF4-FFF2-40B4-BE49-F238E27FC236}">
                  <a16:creationId xmlns:a16="http://schemas.microsoft.com/office/drawing/2014/main" id="{4E18E2CD-BC0A-B84A-A2D2-5C7632228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B6BCAD5B-1E8B-E8EC-3FDA-251F24FFA06F}"/>
              </a:ext>
            </a:extLst>
          </p:cNvPr>
          <p:cNvSpPr txBox="1"/>
          <p:nvPr/>
        </p:nvSpPr>
        <p:spPr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/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51C91F-48AA-0E6E-35BD-415E17DF9EEC}"/>
              </a:ext>
            </a:extLst>
          </p:cNvPr>
          <p:cNvSpPr txBox="1"/>
          <p:nvPr/>
        </p:nvSpPr>
        <p:spPr>
          <a:xfrm>
            <a:off x="5755909" y="6057781"/>
            <a:ext cx="580639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安全！</a:t>
            </a:r>
            <a:r>
              <a:rPr kumimoji="0" lang="en-US" altLang="zh-CN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	</a:t>
            </a: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细致！</a:t>
            </a:r>
            <a:r>
              <a:rPr kumimoji="0" lang="en-US" altLang="zh-CN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	</a:t>
            </a: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动脑子！</a:t>
            </a:r>
            <a:endParaRPr kumimoji="0" lang="en-US" altLang="zh-CN" sz="2800" b="1" i="0" u="none" strike="noStrike" kern="0" cap="none" spc="0" normalizeH="0" baseline="0" noProof="0" dirty="0">
              <a:ln>
                <a:noFill/>
              </a:ln>
              <a:solidFill>
                <a:srgbClr val="04558D">
                  <a:lumMod val="75000"/>
                </a:srgbClr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Segoe UI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465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 bwMode="auto">
          <a:xfrm>
            <a:off x="523733" y="1687902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阎昶澍：组长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MMU</a:t>
            </a:r>
            <a:r>
              <a:rPr lang="zh-CN" dirty="0"/>
              <a:t>部分，交叉编译与上板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郭东昊：组员，参与</a:t>
            </a:r>
            <a:r>
              <a:rPr lang="en-US" dirty="0"/>
              <a:t>Rust</a:t>
            </a:r>
            <a:r>
              <a:rPr lang="zh-CN" dirty="0"/>
              <a:t>改写，上板与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薄震宇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周翟恩和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altLang="en-US" dirty="0"/>
              <a:t>王劲博：组员，</a:t>
            </a:r>
            <a:r>
              <a:rPr lang="zh-CN" altLang="zh-CN" dirty="0"/>
              <a:t>参与</a:t>
            </a:r>
            <a:r>
              <a:rPr lang="zh-CN" altLang="en-US" dirty="0"/>
              <a:t>上板，参与</a:t>
            </a:r>
            <a:r>
              <a:rPr lang="en-US" altLang="zh-CN" dirty="0"/>
              <a:t>PPT</a:t>
            </a:r>
            <a:r>
              <a:rPr lang="zh-CN" altLang="en-US" dirty="0"/>
              <a:t>制作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054150" y="3989209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01075" y="6100259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  <p:sp>
        <p:nvSpPr>
          <p:cNvPr id="2" name="文本框 2">
            <a:extLst>
              <a:ext uri="{FF2B5EF4-FFF2-40B4-BE49-F238E27FC236}">
                <a16:creationId xmlns:a16="http://schemas.microsoft.com/office/drawing/2014/main" id="{30E14B2F-D123-885E-4DB0-285C9209D1E8}"/>
              </a:ext>
            </a:extLst>
          </p:cNvPr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小组分工</a:t>
            </a:r>
            <a:endParaRPr lang="zh-CN" sz="44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r>
              <a:rPr lang="en-US" altLang="zh-CN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——</a:t>
            </a: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实现的功能</a:t>
            </a:r>
            <a:endParaRPr lang="zh-CN" sz="4400" b="1" dirty="0">
              <a:latin typeface="+mj-ea"/>
              <a:ea typeface="+mj-ea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351D130-E2C5-BDE5-8D53-B0A0B14A1974}"/>
              </a:ext>
            </a:extLst>
          </p:cNvPr>
          <p:cNvSpPr txBox="1"/>
          <p:nvPr/>
        </p:nvSpPr>
        <p:spPr>
          <a:xfrm>
            <a:off x="607325" y="1781033"/>
            <a:ext cx="9376012" cy="2776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Rust</a:t>
            </a:r>
            <a:r>
              <a:rPr lang="zh-CN" altLang="en-US" dirty="0"/>
              <a:t>版本的</a:t>
            </a:r>
            <a:r>
              <a:rPr lang="en-US" altLang="zh-CN" dirty="0" err="1"/>
              <a:t>FreeRTOS</a:t>
            </a:r>
            <a:r>
              <a:rPr lang="zh-CN" altLang="en-US" dirty="0"/>
              <a:t>系统顺利在</a:t>
            </a:r>
            <a:r>
              <a:rPr lang="en-US" altLang="zh-CN" dirty="0"/>
              <a:t>QEMU</a:t>
            </a:r>
            <a:r>
              <a:rPr lang="zh-CN" altLang="en-US" dirty="0"/>
              <a:t>上运行</a:t>
            </a:r>
            <a:endParaRPr lang="en-US" altLang="zh-CN" dirty="0"/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整个系统完整编译，而非对某一特性的专门测试</a:t>
            </a:r>
            <a:endParaRPr lang="en-US" altLang="zh-CN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MMU</a:t>
            </a:r>
            <a:r>
              <a:rPr lang="zh-CN" altLang="en-US" dirty="0"/>
              <a:t>功能顺利实现</a:t>
            </a:r>
            <a:endParaRPr lang="en-US" altLang="zh-CN" dirty="0"/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命中率高达</a:t>
            </a:r>
            <a:r>
              <a:rPr lang="en-US" altLang="zh-CN" dirty="0"/>
              <a:t>99.974%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r>
              <a:rPr lang="en-US" altLang="zh-CN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——</a:t>
            </a: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同类项目对比</a:t>
            </a:r>
            <a:endParaRPr lang="zh-CN" sz="4400" b="1" dirty="0">
              <a:latin typeface="+mj-ea"/>
              <a:ea typeface="+mj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7957810"/>
              </p:ext>
            </p:extLst>
          </p:nvPr>
        </p:nvGraphicFramePr>
        <p:xfrm>
          <a:off x="604874" y="2133599"/>
          <a:ext cx="10847347" cy="31699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TlToB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mustrust</a:t>
                      </a:r>
                      <a:r>
                        <a:rPr sz="2600" b="1" u="none" dirty="0">
                          <a:solidFill>
                            <a:schemeClr val="bg1"/>
                          </a:solidFill>
                        </a:rPr>
                        <a:t> (OSH2024)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2600" b="0" u="none" dirty="0" err="1">
                          <a:solidFill>
                            <a:schemeClr val="bg1"/>
                          </a:solidFill>
                        </a:rPr>
                        <a:t>R</a:t>
                      </a: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ust完整改写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交叉编译&amp;QEMU模拟器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上板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" name="文本框 1">
            <a:extLst>
              <a:ext uri="{FF2B5EF4-FFF2-40B4-BE49-F238E27FC236}">
                <a16:creationId xmlns:a16="http://schemas.microsoft.com/office/drawing/2014/main" id="{B8EA4979-3366-87FC-0D2F-568B1C25C6B9}"/>
              </a:ext>
            </a:extLst>
          </p:cNvPr>
          <p:cNvSpPr txBox="1"/>
          <p:nvPr/>
        </p:nvSpPr>
        <p:spPr>
          <a:xfrm>
            <a:off x="2387600" y="2147284"/>
            <a:ext cx="349673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solidFill>
                  <a:schemeClr val="bg1"/>
                </a:solidFill>
              </a:rPr>
              <a:t>小组名</a:t>
            </a:r>
            <a:r>
              <a:rPr lang="en-US" altLang="zh-CN" sz="3200" b="1" dirty="0">
                <a:solidFill>
                  <a:schemeClr val="bg1"/>
                </a:solidFill>
              </a:rPr>
              <a:t>&amp;</a:t>
            </a:r>
            <a:r>
              <a:rPr lang="zh-CN" altLang="en-US" sz="3200" b="1" dirty="0">
                <a:solidFill>
                  <a:schemeClr val="bg1"/>
                </a:solidFill>
              </a:rPr>
              <a:t>年份</a:t>
            </a:r>
            <a:endParaRPr lang="zh-CN" altLang="en-US" sz="3200" dirty="0">
              <a:solidFill>
                <a:schemeClr val="bg1"/>
              </a:solidFill>
            </a:endParaRPr>
          </a:p>
          <a:p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4A87290-6B73-5336-6B36-CD03A76313CA}"/>
              </a:ext>
            </a:extLst>
          </p:cNvPr>
          <p:cNvSpPr txBox="1"/>
          <p:nvPr/>
        </p:nvSpPr>
        <p:spPr>
          <a:xfrm>
            <a:off x="615423" y="2740935"/>
            <a:ext cx="24267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u="none" dirty="0">
                <a:solidFill>
                  <a:schemeClr val="bg1"/>
                </a:solidFill>
              </a:rPr>
              <a:t>项目完成度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2736247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GQTtCBASFqANyL9PRS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3</TotalTime>
  <Words>2764</Words>
  <Application>Microsoft Office PowerPoint</Application>
  <DocSecurity>0</DocSecurity>
  <PresentationFormat>宽屏</PresentationFormat>
  <Paragraphs>315</Paragraphs>
  <Slides>47</Slides>
  <Notes>40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47</vt:i4>
      </vt:variant>
    </vt:vector>
  </HeadingPairs>
  <TitlesOfParts>
    <vt:vector size="62" baseType="lpstr">
      <vt:lpstr>-apple-system</vt:lpstr>
      <vt:lpstr>Consolig</vt:lpstr>
      <vt:lpstr>等线</vt:lpstr>
      <vt:lpstr>等线 Light</vt:lpstr>
      <vt:lpstr>微软雅黑</vt:lpstr>
      <vt:lpstr>Arial</vt:lpstr>
      <vt:lpstr>Calibri</vt:lpstr>
      <vt:lpstr>Cambria Math</vt:lpstr>
      <vt:lpstr>Consolas</vt:lpstr>
      <vt:lpstr>Segoe UI</vt:lpstr>
      <vt:lpstr>Segoe UI Light</vt:lpstr>
      <vt:lpstr>Times New Roman</vt:lpstr>
      <vt:lpstr>Office Theme</vt:lpstr>
      <vt:lpstr>oleObj</vt:lpstr>
      <vt:lpstr>think-cell Slide</vt:lpstr>
      <vt:lpstr>PowerPoint 演示文稿</vt:lpstr>
      <vt:lpstr>PowerPoint 演示文稿</vt:lpstr>
      <vt:lpstr>PowerPoint 演示文稿</vt:lpstr>
      <vt:lpstr>引言——项目背景 FreeRTOS</vt:lpstr>
      <vt:lpstr>引言——项目背景 Rust</vt:lpstr>
      <vt:lpstr>项目目标 ——用 Rust 改写 FreeRTOS 并支持 MMU</vt:lpstr>
      <vt:lpstr>PowerPoint 演示文稿</vt:lpstr>
      <vt:lpstr>PowerPoint 演示文稿</vt:lpstr>
      <vt:lpstr>PowerPoint 演示文稿</vt:lpstr>
      <vt:lpstr>PowerPoint 演示文稿</vt:lpstr>
      <vt:lpstr>Rust改写 原始FreeRTOS分析</vt:lpstr>
      <vt:lpstr>Rust改写 原始FreeRTOS分析</vt:lpstr>
      <vt:lpstr>Rust改写 基本方法与原则</vt:lpstr>
      <vt:lpstr>Rust改写——遇到的困难与解决方案 C与Rust的相互调用</vt:lpstr>
      <vt:lpstr>Rust改写——遇到的困难与解决方案 所有权机制</vt:lpstr>
      <vt:lpstr>Rust改写——遇到的困难与解决方案 所有权机制</vt:lpstr>
      <vt:lpstr>Rust改写——遇到的困难与解决方案 Const常量重复定义</vt:lpstr>
      <vt:lpstr>Rust改写——遇到的困难与解决方案 Const常量重复定义</vt:lpstr>
      <vt:lpstr>Rust改写——遇到的困难与解决方案 一部分具有函数功能的宏被忽略</vt:lpstr>
      <vt:lpstr>Rust改写——遇到的困难与解决方案 适配上板</vt:lpstr>
      <vt:lpstr>Rust改写——遇到的困难与解决方案 适配上板</vt:lpstr>
      <vt:lpstr>Rust改写——关键模块 list模块</vt:lpstr>
      <vt:lpstr>Rust改写——关键模块 list模块</vt:lpstr>
      <vt:lpstr>Rust改写——关键模块 list模块</vt:lpstr>
      <vt:lpstr>Rust改写——关键模块 list模块</vt:lpstr>
      <vt:lpstr>Rust改写——关键模块 list模块</vt:lpstr>
      <vt:lpstr>Rust改写——关键模块 task模块</vt:lpstr>
      <vt:lpstr>Rust改写——关键模块 task模块</vt:lpstr>
      <vt:lpstr>Rust改写——关键模块 task模块</vt:lpstr>
      <vt:lpstr>Rust改写——关键模块 task模块</vt:lpstr>
      <vt:lpstr>PowerPoint 演示文稿</vt:lpstr>
      <vt:lpstr>MMU部分</vt:lpstr>
      <vt:lpstr>MMU部分：关键函数</vt:lpstr>
      <vt:lpstr>MMU部分：关键函数</vt:lpstr>
      <vt:lpstr>MMU部分：关键函数</vt:lpstr>
      <vt:lpstr>MMU部分：关键函数</vt:lpstr>
      <vt:lpstr>MMU部分：模拟结果</vt:lpstr>
      <vt:lpstr>MMU部分：模拟结果</vt:lpstr>
      <vt:lpstr>MMU部分：模拟结果</vt:lpstr>
      <vt:lpstr>PowerPoint 演示文稿</vt:lpstr>
      <vt:lpstr>交叉编译与上板(bindgen方案)</vt:lpstr>
      <vt:lpstr>交叉编译与上板</vt:lpstr>
      <vt:lpstr>交叉编译与上板（链接）</vt:lpstr>
      <vt:lpstr>交叉编译与上板（QEMU模拟与调试）</vt:lpstr>
      <vt:lpstr>交叉编译与上板（QEMU模拟与调试）</vt:lpstr>
      <vt:lpstr>交叉编译与上板（QEMU模拟与调试）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Donghao Guo</cp:lastModifiedBy>
  <cp:revision>308</cp:revision>
  <dcterms:created xsi:type="dcterms:W3CDTF">2019-08-16T12:08:31Z</dcterms:created>
  <dcterms:modified xsi:type="dcterms:W3CDTF">2024-07-05T16:20:00Z</dcterms:modified>
  <cp:category/>
  <dc:identifier/>
  <cp:contentStatus/>
  <dc:language/>
  <cp:version/>
</cp:coreProperties>
</file>